
<file path=[Content_Types].xml><?xml version="1.0" encoding="utf-8"?>
<Types xmlns="http://schemas.openxmlformats.org/package/2006/content-types">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137_93C163C4.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148_F53DEEEF.xml" ContentType="application/vnd.ms-powerpoint.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modernComment_16B_9B9F2B0A.xml" ContentType="application/vnd.ms-powerpoint.comment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43.xml" ContentType="application/vnd.openxmlformats-officedocument.presentationml.notesSlide+xml"/>
  <Override PartName="/ppt/ink/ink6.xml" ContentType="application/inkml+xml"/>
  <Override PartName="/ppt/ink/ink7.xml" ContentType="application/inkml+xml"/>
  <Override PartName="/ppt/notesSlides/notesSlide44.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comments/modernComment_17A_5F5CF2C8.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1" r:id="rId1"/>
  </p:sldMasterIdLst>
  <p:notesMasterIdLst>
    <p:notesMasterId r:id="rId49"/>
  </p:notesMasterIdLst>
  <p:handoutMasterIdLst>
    <p:handoutMasterId r:id="rId50"/>
  </p:handoutMasterIdLst>
  <p:sldIdLst>
    <p:sldId id="256" r:id="rId2"/>
    <p:sldId id="260" r:id="rId3"/>
    <p:sldId id="296" r:id="rId4"/>
    <p:sldId id="310" r:id="rId5"/>
    <p:sldId id="301" r:id="rId6"/>
    <p:sldId id="297" r:id="rId7"/>
    <p:sldId id="320" r:id="rId8"/>
    <p:sldId id="306" r:id="rId9"/>
    <p:sldId id="322" r:id="rId10"/>
    <p:sldId id="373" r:id="rId11"/>
    <p:sldId id="352" r:id="rId12"/>
    <p:sldId id="327" r:id="rId13"/>
    <p:sldId id="330" r:id="rId14"/>
    <p:sldId id="331" r:id="rId15"/>
    <p:sldId id="302" r:id="rId16"/>
    <p:sldId id="365" r:id="rId17"/>
    <p:sldId id="353" r:id="rId18"/>
    <p:sldId id="366" r:id="rId19"/>
    <p:sldId id="354" r:id="rId20"/>
    <p:sldId id="356" r:id="rId21"/>
    <p:sldId id="367" r:id="rId22"/>
    <p:sldId id="357" r:id="rId23"/>
    <p:sldId id="316" r:id="rId24"/>
    <p:sldId id="311" r:id="rId25"/>
    <p:sldId id="312" r:id="rId26"/>
    <p:sldId id="309" r:id="rId27"/>
    <p:sldId id="370" r:id="rId28"/>
    <p:sldId id="328" r:id="rId29"/>
    <p:sldId id="376" r:id="rId30"/>
    <p:sldId id="329" r:id="rId31"/>
    <p:sldId id="363" r:id="rId32"/>
    <p:sldId id="314" r:id="rId33"/>
    <p:sldId id="358" r:id="rId34"/>
    <p:sldId id="344" r:id="rId35"/>
    <p:sldId id="364" r:id="rId36"/>
    <p:sldId id="318" r:id="rId37"/>
    <p:sldId id="374" r:id="rId38"/>
    <p:sldId id="375" r:id="rId39"/>
    <p:sldId id="377" r:id="rId40"/>
    <p:sldId id="290" r:id="rId41"/>
    <p:sldId id="379" r:id="rId42"/>
    <p:sldId id="372" r:id="rId43"/>
    <p:sldId id="381" r:id="rId44"/>
    <p:sldId id="380" r:id="rId45"/>
    <p:sldId id="382" r:id="rId46"/>
    <p:sldId id="378" r:id="rId47"/>
    <p:sldId id="371" r:id="rId48"/>
  </p:sldIdLst>
  <p:sldSz cx="9144000" cy="5143500" type="screen16x9"/>
  <p:notesSz cx="6858000" cy="9144000"/>
  <p:embeddedFontLst>
    <p:embeddedFont>
      <p:font typeface="Bebas Neue" panose="020B0606020202050201" pitchFamily="34" charset="0"/>
      <p:regular r:id="rId51"/>
    </p:embeddedFont>
    <p:embeddedFont>
      <p:font typeface="Calibri" panose="020F0502020204030204" pitchFamily="34" charset="0"/>
      <p:regular r:id="rId52"/>
      <p:bold r:id="rId53"/>
      <p:italic r:id="rId54"/>
      <p:boldItalic r:id="rId55"/>
    </p:embeddedFont>
    <p:embeddedFont>
      <p:font typeface="Cambria Math" panose="02040503050406030204" pitchFamily="18" charset="0"/>
      <p:regular r:id="rId56"/>
    </p:embeddedFont>
    <p:embeddedFont>
      <p:font typeface="Lexend Deca" panose="020B0604020202020204" charset="0"/>
      <p:regular r:id="rId57"/>
      <p:bold r:id="rId58"/>
    </p:embeddedFont>
    <p:embeddedFont>
      <p:font typeface="Lexend Deca Light" panose="020B0604020202020204" charset="0"/>
      <p:regular r:id="rId59"/>
      <p:bold r:id="rId60"/>
    </p:embeddedFont>
    <p:embeddedFont>
      <p:font typeface="Nunito Light" pitchFamily="2" charset="0"/>
      <p:regular r:id="rId61"/>
      <p:italic r:id="rId62"/>
    </p:embeddedFont>
    <p:embeddedFont>
      <p:font typeface="Tahoma" panose="020B0604030504040204" pitchFamily="34" charset="0"/>
      <p:regular r:id="rId63"/>
      <p:bold r:id="rId64"/>
    </p:embeddedFont>
  </p:embeddedFontLst>
  <p:custDataLst>
    <p:tags r:id="rId6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9AA0A6"/>
          </p15:clr>
        </p15:guide>
        <p15:guide id="2" pos="2880">
          <p15:clr>
            <a:srgbClr val="9AA0A6"/>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6C5B0A-73BF-1BAA-F30C-168C378111D8}" name="Julian Peire" initials="JP" userId="S::Julian.Peire@UGent.be::3c1e669b-6530-4a86-8d0e-8100c1b60473" providerId="AD"/>
  <p188:author id="{FB434C1B-72DD-CB8C-7014-7AF596B87A31}" name="Jaron Peire" initials="JP" userId="S::Jaron.Peire@UGent.be::3c1e669b-6530-4a86-8d0e-8100c1b60473" providerId="AD"/>
  <p188:author id="{3D7C936A-2005-4F28-FB63-7444BBC9516F}" name="Wannes Janssens" initials="WJ" userId="S::wanjanss.Janssens@UGent.be::bbf48a93-f3bc-4bbd-97e1-c45022b5663a" providerId="AD"/>
  <p188:author id="{1F9932A3-F72E-9626-17D7-E88C74247A16}" name="Yaël De Rocker" initials="YDR" userId="S::yael.derocker@ugent.be::cf84e076-96c8-4ef7-97d9-04624465970e" providerId="AD"/>
  <p188:author id="{19FB2EA5-393E-DB52-F083-469D34553807}" name="Tom WIllemen" initials="TW" userId="S::Tom.WIllemen@UGent.be::917d104a-fcf0-46f5-b4f2-1c16372c0ab9" providerId="AD"/>
  <p188:author id="{40011FC1-B329-5326-B205-64D0443CE07D}" name="Matteo Ballegeer" initials="MB" userId="S::Matteo.Ballegeer@UGent.be::01af4a86-504e-4b84-a210-aa15137391a3" providerId="AD"/>
  <p188:author id="{95DEEBDA-1E10-14F3-5BF0-B3B016A1AF36}" name="Yaël De Rocker" initials="YD" userId="S::Yael.DeRocker@UGent.be::cf84e076-96c8-4ef7-97d9-04624465970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8806"/>
    <a:srgbClr val="0F1A42"/>
    <a:srgbClr val="494949"/>
    <a:srgbClr val="444242"/>
    <a:srgbClr val="242F58"/>
    <a:srgbClr val="B53526"/>
    <a:srgbClr val="E2415E"/>
    <a:srgbClr val="802536"/>
    <a:srgbClr val="0A1D3D"/>
    <a:srgbClr val="1339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FF4BB1D-9B9B-497A-A6D5-F217B081F8ED}">
  <a:tblStyle styleId="{2FF4BB1D-9B9B-497A-A6D5-F217B081F8ED}"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8A2B5CEA-125D-47FC-9434-FEE290B18C92}"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165" autoAdjust="0"/>
  </p:normalViewPr>
  <p:slideViewPr>
    <p:cSldViewPr snapToGrid="0">
      <p:cViewPr>
        <p:scale>
          <a:sx n="100" d="100"/>
          <a:sy n="100" d="100"/>
        </p:scale>
        <p:origin x="1914" y="882"/>
      </p:cViewPr>
      <p:guideLst>
        <p:guide orient="horz" pos="162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3.fntdata"/><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font" Target="fonts/font11.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1.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9.fntdata"/><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4.fntdata"/><Relationship Id="rId62" Type="http://schemas.openxmlformats.org/officeDocument/2006/relationships/font" Target="fonts/font12.fntdata"/><Relationship Id="rId7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openxmlformats.org/officeDocument/2006/relationships/font" Target="fonts/font7.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handoutMaster" Target="handoutMasters/handoutMaster1.xml"/><Relationship Id="rId55" Type="http://schemas.openxmlformats.org/officeDocument/2006/relationships/font" Target="fonts/font5.fntdata"/></Relationships>
</file>

<file path=ppt/comments/modernComment_137_93C163C4.xml><?xml version="1.0" encoding="utf-8"?>
<p188:cmLst xmlns:a="http://schemas.openxmlformats.org/drawingml/2006/main" xmlns:r="http://schemas.openxmlformats.org/officeDocument/2006/relationships" xmlns:p188="http://schemas.microsoft.com/office/powerpoint/2018/8/main">
  <p188:cm id="{A3545892-BB52-4F6D-986A-7197DF2944B2}" authorId="{CB6C5B0A-73BF-1BAA-F30C-168C378111D8}" status="resolved" created="2023-12-18T23:47:24.463" complete="100000">
    <ac:deMkLst xmlns:ac="http://schemas.microsoft.com/office/drawing/2013/main/command">
      <pc:docMk xmlns:pc="http://schemas.microsoft.com/office/powerpoint/2013/main/command"/>
      <pc:sldMk xmlns:pc="http://schemas.microsoft.com/office/powerpoint/2013/main/command" cId="2478924740" sldId="311"/>
      <ac:graphicFrameMk id="3" creationId="{C67629AC-A507-F5CB-127C-9E17A96761A8}"/>
    </ac:deMkLst>
    <p188:replyLst>
      <p188:reply id="{1B2E2BB7-A972-974F-B810-7D59BCFDE4F3}" authorId="{1F9932A3-F72E-9626-17D7-E88C74247A16}" created="2023-12-19T10:07:27.976">
        <p188:txBody>
          <a:bodyPr/>
          <a:lstStyle/>
          <a:p>
            <a:r>
              <a:rPr lang="nl-NL"/>
              <a:t>met is goed (zoals het nu is</a:t>
            </a:r>
          </a:p>
        </p188:txBody>
      </p188:reply>
    </p188:replyLst>
    <p188:txBody>
      <a:bodyPr/>
      <a:lstStyle/>
      <a:p>
        <a:r>
          <a:rPr lang="en-BE"/>
          <a:t>Is nu in caps (automatisch); [@Yaël De Rocker]  liever met of zonder? </a:t>
        </a:r>
      </a:p>
    </p188:txBody>
  </p188:cm>
  <p188:cm id="{4F9273C9-3C1A-3F48-AA54-88BE751C4DF2}" authorId="{1F9932A3-F72E-9626-17D7-E88C74247A16}" status="resolved" created="2023-12-19T10:09:34.403" complete="100000">
    <ac:txMkLst xmlns:ac="http://schemas.microsoft.com/office/drawing/2013/main/command">
      <pc:docMk xmlns:pc="http://schemas.microsoft.com/office/powerpoint/2013/main/command"/>
      <pc:sldMk xmlns:pc="http://schemas.microsoft.com/office/powerpoint/2013/main/command" cId="2478924740" sldId="311"/>
      <ac:graphicFrameMk id="3" creationId="{C67629AC-A507-F5CB-127C-9E17A96761A8}"/>
      <dc:dgmMk xmlns:dc="http://schemas.microsoft.com/office/drawing/2013/diagram/command"/>
      <dc:nodeMk xmlns:dc="http://schemas.microsoft.com/office/drawing/2013/diagram/command" id="{01D68819-8B55-4C0E-B7A3-0117DF04B14A}"/>
      <ac:txMk cp="33" len="7">
        <ac:context len="84" hash="1177675590"/>
      </ac:txMk>
    </ac:txMkLst>
    <p188:replyLst>
      <p188:reply id="{EB63271E-3819-294F-8055-BD09D6E91B6D}" authorId="{1F9932A3-F72E-9626-17D7-E88C74247A16}" created="2023-12-19T10:10:32.475">
        <p188:txBody>
          <a:bodyPr/>
          <a:lstStyle/>
          <a:p>
            <a:r>
              <a:rPr lang="nl-NL"/>
              <a:t>op zich kan het gesimplificeerd worden door enkel ‘EXPLICITLY TAG USERS when highlighting their work’ te schrijven</a:t>
            </a:r>
          </a:p>
        </p188:txBody>
      </p188:reply>
      <p188:reply id="{BFEBAAAB-DD55-41DE-BC25-AB3242DC102B}" authorId="{CB6C5B0A-73BF-1BAA-F30C-168C378111D8}" created="2023-12-19T23:02:27.783">
        <p188:txBody>
          <a:bodyPr/>
          <a:lstStyle/>
          <a:p>
            <a:r>
              <a:rPr lang="en-BE"/>
              <a:t>Good recommendation! Changed</a:t>
            </a:r>
          </a:p>
        </p188:txBody>
      </p188:reply>
    </p188:replyLst>
    <p188:txBody>
      <a:bodyPr/>
      <a:lstStyle/>
      <a:p>
        <a:r>
          <a:rPr lang="nl-NL"/>
          <a:t>ik snap dat je bedoelt dat de company de user met taggen wanneer de company post (‘to post’) maar komt niet meteen binnen wnr je dat leest
ik denk na over een alternatief</a:t>
        </a:r>
      </a:p>
    </p188:txBody>
  </p188:cm>
</p188:cmLst>
</file>

<file path=ppt/comments/modernComment_148_F53DEEEF.xml><?xml version="1.0" encoding="utf-8"?>
<p188:cmLst xmlns:a="http://schemas.openxmlformats.org/drawingml/2006/main" xmlns:r="http://schemas.openxmlformats.org/officeDocument/2006/relationships" xmlns:p188="http://schemas.microsoft.com/office/powerpoint/2018/8/main">
  <p188:cm id="{D93801B9-07DD-5340-B626-DCB20F3F1402}" authorId="{1F9932A3-F72E-9626-17D7-E88C74247A16}" status="resolved" created="2023-12-18T20:22:37.341" complete="100000">
    <ac:deMkLst xmlns:ac="http://schemas.microsoft.com/office/drawing/2013/main/command">
      <pc:docMk xmlns:pc="http://schemas.microsoft.com/office/powerpoint/2013/main/command"/>
      <pc:sldMk xmlns:pc="http://schemas.microsoft.com/office/powerpoint/2013/main/command" cId="4114476783" sldId="328"/>
      <ac:picMk id="21" creationId="{B3D55903-DBF5-8858-2767-3D24E961D4EA}"/>
    </ac:deMkLst>
    <p188:replyLst>
      <p188:reply id="{6E7E763F-F620-4DF4-B7BE-6412F136E16B}" authorId="{19FB2EA5-393E-DB52-F083-469D34553807}" created="2023-12-19T13:48:15.653">
        <p188:txBody>
          <a:bodyPr/>
          <a:lstStyle/>
          <a:p>
            <a:r>
              <a:rPr lang="en-GB"/>
              <a:t>[@Julian Peire] heb je liever wit of zwart? 
</a:t>
            </a:r>
          </a:p>
        </p188:txBody>
      </p188:reply>
      <p188:reply id="{33505394-AA74-4131-BDB3-3D70FC3D3FE8}" authorId="{CB6C5B0A-73BF-1BAA-F30C-168C378111D8}" created="2023-12-19T15:56:59.169">
        <p188:txBody>
          <a:bodyPr/>
          <a:lstStyle/>
          <a:p>
            <a:r>
              <a:rPr lang="en-BE"/>
              <a:t>Thing is; ik kan gewoon geen zwart doen via jupyter dus anders moet je mijn code opnieuw screenen; doe maar gewoon wit voor 't gemak</a:t>
            </a:r>
          </a:p>
        </p188:txBody>
      </p188:reply>
    </p188:replyLst>
    <p188:txBody>
      <a:bodyPr/>
      <a:lstStyle/>
      <a:p>
        <a:r>
          <a:rPr lang="nl-NL"/>
          <a:t>ik zou consistent code met witte of zwarte achtergrond plaatsen; we switchen vaak (slide 38 is dan in het wit)</a:t>
        </a:r>
      </a:p>
    </p188:txBody>
  </p188:cm>
</p188:cmLst>
</file>

<file path=ppt/comments/modernComment_16B_9B9F2B0A.xml><?xml version="1.0" encoding="utf-8"?>
<p188:cmLst xmlns:a="http://schemas.openxmlformats.org/drawingml/2006/main" xmlns:r="http://schemas.openxmlformats.org/officeDocument/2006/relationships" xmlns:p188="http://schemas.microsoft.com/office/powerpoint/2018/8/main">
  <p188:cm id="{58AAC1B8-F37F-8E44-B836-35C83E98947E}" authorId="{1F9932A3-F72E-9626-17D7-E88C74247A16}" status="resolved" created="2023-12-18T20:18:14.489" complete="100000">
    <ac:txMkLst xmlns:ac="http://schemas.microsoft.com/office/drawing/2013/main/command">
      <pc:docMk xmlns:pc="http://schemas.microsoft.com/office/powerpoint/2013/main/command"/>
      <pc:sldMk xmlns:pc="http://schemas.microsoft.com/office/powerpoint/2013/main/command" cId="2610899722" sldId="363"/>
      <ac:spMk id="3" creationId="{43CFB9C6-1D79-0742-D89A-8087A4C49A14}"/>
      <ac:txMk cp="11" len="182">
        <ac:context len="198" hash="1227888217"/>
      </ac:txMk>
    </ac:txMkLst>
    <p188:pos x="7426741" y="370768"/>
    <p188:txBody>
      <a:bodyPr/>
      <a:lstStyle/>
      <a:p>
        <a:r>
          <a:rPr lang="nl-NL"/>
          <a:t>bron?</a:t>
        </a:r>
      </a:p>
    </p188:txBody>
  </p188:cm>
  <p188:cm id="{51300C53-859D-5140-A839-5FD67F2037AA}" authorId="{1F9932A3-F72E-9626-17D7-E88C74247A16}" status="resolved" created="2023-12-18T20:19:18.797" complete="100000">
    <ac:txMkLst xmlns:ac="http://schemas.microsoft.com/office/drawing/2013/main/command">
      <pc:docMk xmlns:pc="http://schemas.microsoft.com/office/powerpoint/2013/main/command"/>
      <pc:sldMk xmlns:pc="http://schemas.microsoft.com/office/powerpoint/2013/main/command" cId="2610899722" sldId="363"/>
      <ac:spMk id="3" creationId="{43CFB9C6-1D79-0742-D89A-8087A4C49A14}"/>
      <ac:txMk cp="195">
        <ac:context len="198" hash="1227888217"/>
      </ac:txMk>
    </ac:txMkLst>
    <p188:pos x="2827581" y="1221794"/>
    <p188:txBody>
      <a:bodyPr/>
      <a:lstStyle/>
      <a:p>
        <a:r>
          <a:rPr lang="nl-NL"/>
          <a:t>mag met asterix onderaan van mijn part; niet zo nuttig in het midden vd slide</a:t>
        </a:r>
      </a:p>
    </p188:txBody>
  </p188:cm>
</p188:cmLst>
</file>

<file path=ppt/comments/modernComment_17A_5F5CF2C8.xml><?xml version="1.0" encoding="utf-8"?>
<p188:cmLst xmlns:a="http://schemas.openxmlformats.org/drawingml/2006/main" xmlns:r="http://schemas.openxmlformats.org/officeDocument/2006/relationships" xmlns:p188="http://schemas.microsoft.com/office/powerpoint/2018/8/main">
  <p188:cm id="{D05292BC-47DA-4F05-8419-C5018A3441CB}" authorId="{CB6C5B0A-73BF-1BAA-F30C-168C378111D8}" status="resolved" created="2023-12-19T18:52:00.699" complete="100000">
    <pc:sldMkLst xmlns:pc="http://schemas.microsoft.com/office/powerpoint/2013/main/command">
      <pc:docMk/>
      <pc:sldMk cId="1599926984" sldId="378"/>
    </pc:sldMkLst>
    <p188:txBody>
      <a:bodyPr/>
      <a:lstStyle/>
      <a:p>
        <a:r>
          <a:rPr lang="en-BE"/>
          <a:t>[@Matteo Ballegeer] [@Tom WIllemen]  Weet niet wie er nu mee bezig is maar zie je het zitten om een feature importance voor signapore ook toe te voegen? Zie ze daar wel nog een vraag over stellen (of de drivers anders zijn)</a:t>
        </a:r>
      </a:p>
    </p188:txBody>
  </p188:cm>
</p188: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B9A07C-021D-4908-8734-1451FD05A31F}" type="doc">
      <dgm:prSet loTypeId="urn:microsoft.com/office/officeart/2005/8/layout/process1" loCatId="process" qsTypeId="urn:microsoft.com/office/officeart/2005/8/quickstyle/simple1" qsCatId="simple" csTypeId="urn:microsoft.com/office/officeart/2005/8/colors/accent0_2" csCatId="mainScheme" phldr="1"/>
      <dgm:spPr/>
    </dgm:pt>
    <dgm:pt modelId="{808E6E10-5688-45E0-9773-DBE8005F2AF0}">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Word2Vec</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A23F8F25-8F4B-4223-9D83-314B0DE3A2F4}" type="parTrans" cxnId="{1787BE09-8F26-4DDB-915B-6C00352623DE}">
      <dgm:prSet/>
      <dgm:spPr/>
      <dgm:t>
        <a:bodyPr/>
        <a:lstStyle/>
        <a:p>
          <a:endParaRPr lang="nl-BE"/>
        </a:p>
      </dgm:t>
    </dgm:pt>
    <dgm:pt modelId="{4B8CE66B-E524-4746-84C3-46EA042F9D1A}" type="sibTrans" cxnId="{1787BE09-8F26-4DDB-915B-6C00352623DE}">
      <dgm:prSet/>
      <dgm:spPr>
        <a:solidFill>
          <a:schemeClr val="tx1"/>
        </a:solidFill>
      </dgm:spPr>
      <dgm:t>
        <a:bodyPr/>
        <a:lstStyle/>
        <a:p>
          <a:endParaRPr lang="nl-BE"/>
        </a:p>
      </dgm:t>
    </dgm:pt>
    <dgm:pt modelId="{C2253301-EDE7-4919-A3B0-E0DA143303EC}">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A8D1BABA-CCA1-4EF6-8912-ED327C1ABCBA}" type="parTrans" cxnId="{1A5897B7-DA29-4B08-8622-393A5F9397C2}">
      <dgm:prSet/>
      <dgm:spPr/>
      <dgm:t>
        <a:bodyPr/>
        <a:lstStyle/>
        <a:p>
          <a:endParaRPr lang="nl-BE"/>
        </a:p>
      </dgm:t>
    </dgm:pt>
    <dgm:pt modelId="{928F838E-E350-488E-85A1-50DE6DFA27D9}" type="sibTrans" cxnId="{1A5897B7-DA29-4B08-8622-393A5F9397C2}">
      <dgm:prSet/>
      <dgm:spPr>
        <a:solidFill>
          <a:schemeClr val="tx1"/>
        </a:solidFill>
      </dgm:spPr>
      <dgm:t>
        <a:bodyPr/>
        <a:lstStyle/>
        <a:p>
          <a:endParaRPr lang="nl-BE"/>
        </a:p>
      </dgm:t>
    </dgm:pt>
    <dgm:pt modelId="{0BF5C513-F8C7-41F6-9716-26D17988DA80}">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Standard-</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rPr>
            <a:t>Sca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68A893C5-1809-408A-A087-03E8DDBBDB96}" type="parTrans" cxnId="{371B58DD-1EC0-42E2-809E-AE578AAC4231}">
      <dgm:prSet/>
      <dgm:spPr/>
      <dgm:t>
        <a:bodyPr/>
        <a:lstStyle/>
        <a:p>
          <a:endParaRPr lang="nl-BE"/>
        </a:p>
      </dgm:t>
    </dgm:pt>
    <dgm:pt modelId="{4D3A88AE-1119-4E2D-9EC8-F3B5435114B1}" type="sibTrans" cxnId="{371B58DD-1EC0-42E2-809E-AE578AAC4231}">
      <dgm:prSet/>
      <dgm:spPr>
        <a:solidFill>
          <a:schemeClr val="tx1"/>
        </a:solidFill>
      </dgm:spPr>
      <dgm:t>
        <a:bodyPr/>
        <a:lstStyle/>
        <a:p>
          <a:endParaRPr lang="nl-BE"/>
        </a:p>
      </dgm:t>
    </dgm:pt>
    <dgm:pt modelId="{DDF04FAA-4852-45A7-AD60-8688D8B22C62}">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04F96AB4-5C76-4CE6-BF2C-5E1D2D0A677A}" type="parTrans" cxnId="{5D8D6F7D-4F48-408F-9595-A44CF81C6D78}">
      <dgm:prSet/>
      <dgm:spPr/>
      <dgm:t>
        <a:bodyPr/>
        <a:lstStyle/>
        <a:p>
          <a:endParaRPr lang="nl-BE"/>
        </a:p>
      </dgm:t>
    </dgm:pt>
    <dgm:pt modelId="{E3B2E5AA-9A2C-4DF1-AB4D-50C1331E5F8A}" type="sibTrans" cxnId="{5D8D6F7D-4F48-408F-9595-A44CF81C6D78}">
      <dgm:prSet/>
      <dgm:spPr>
        <a:solidFill>
          <a:schemeClr val="tx1"/>
        </a:solidFill>
      </dgm:spPr>
      <dgm:t>
        <a:bodyPr/>
        <a:lstStyle/>
        <a:p>
          <a:endParaRPr lang="nl-BE"/>
        </a:p>
      </dgm:t>
    </dgm:pt>
    <dgm:pt modelId="{DA0C6883-F737-4C3D-B379-E543387A47DB}">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Model</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027C68C6-93F9-451E-A2CF-BEEC6D13E3CC}" type="parTrans" cxnId="{3EA80E75-DF8E-4904-B1AE-C8FCE72FC1F0}">
      <dgm:prSet/>
      <dgm:spPr/>
      <dgm:t>
        <a:bodyPr/>
        <a:lstStyle/>
        <a:p>
          <a:endParaRPr lang="nl-BE"/>
        </a:p>
      </dgm:t>
    </dgm:pt>
    <dgm:pt modelId="{F0FE35BE-8460-4E30-86B7-B9462011163F}" type="sibTrans" cxnId="{3EA80E75-DF8E-4904-B1AE-C8FCE72FC1F0}">
      <dgm:prSet/>
      <dgm:spPr/>
      <dgm:t>
        <a:bodyPr/>
        <a:lstStyle/>
        <a:p>
          <a:endParaRPr lang="nl-BE"/>
        </a:p>
      </dgm:t>
    </dgm:pt>
    <dgm:pt modelId="{72B468A2-8F19-4729-AF45-EE982670C3AD}">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EDF39BAC-7909-404A-8FDA-9A0B92912A4C}" type="parTrans" cxnId="{F2D1A93F-A719-4CED-A381-DA2299FA484F}">
      <dgm:prSet/>
      <dgm:spPr/>
      <dgm:t>
        <a:bodyPr/>
        <a:lstStyle/>
        <a:p>
          <a:endParaRPr lang="nl-BE"/>
        </a:p>
      </dgm:t>
    </dgm:pt>
    <dgm:pt modelId="{78C68045-F640-4BEE-B409-7C1790B04F3C}" type="sibTrans" cxnId="{F2D1A93F-A719-4CED-A381-DA2299FA484F}">
      <dgm:prSet/>
      <dgm:spPr>
        <a:solidFill>
          <a:schemeClr val="tx1"/>
        </a:solidFill>
      </dgm:spPr>
      <dgm:t>
        <a:bodyPr/>
        <a:lstStyle/>
        <a:p>
          <a:endParaRPr lang="nl-BE"/>
        </a:p>
      </dgm:t>
    </dgm:pt>
    <dgm:pt modelId="{A9DBDF29-CD37-4A36-A726-296979C659C7}">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String-</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Index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endParaRPr>
        </a:p>
      </dgm:t>
    </dgm:pt>
    <dgm:pt modelId="{B4D6DC99-6BE2-4891-9A03-DCB8D6826FD9}" type="sibTrans" cxnId="{25F68630-5906-4E13-8E06-172BDDFC4AA4}">
      <dgm:prSet/>
      <dgm:spPr>
        <a:solidFill>
          <a:schemeClr val="tx1"/>
        </a:solidFill>
      </dgm:spPr>
      <dgm:t>
        <a:bodyPr/>
        <a:lstStyle/>
        <a:p>
          <a:endParaRPr lang="nl-BE"/>
        </a:p>
      </dgm:t>
    </dgm:pt>
    <dgm:pt modelId="{E3FEDB2A-8F0B-4481-98FF-8A9BA7062B97}" type="parTrans" cxnId="{25F68630-5906-4E13-8E06-172BDDFC4AA4}">
      <dgm:prSet/>
      <dgm:spPr/>
      <dgm:t>
        <a:bodyPr/>
        <a:lstStyle/>
        <a:p>
          <a:endParaRPr lang="nl-BE"/>
        </a:p>
      </dgm:t>
    </dgm:pt>
    <dgm:pt modelId="{FC5F1E3A-5F4C-4B84-A31F-4B589972F703}" type="pres">
      <dgm:prSet presAssocID="{3DB9A07C-021D-4908-8734-1451FD05A31F}" presName="Name0" presStyleCnt="0">
        <dgm:presLayoutVars>
          <dgm:dir/>
          <dgm:resizeHandles val="exact"/>
        </dgm:presLayoutVars>
      </dgm:prSet>
      <dgm:spPr/>
    </dgm:pt>
    <dgm:pt modelId="{CF462E42-1621-4AE8-8246-51E793A4F022}" type="pres">
      <dgm:prSet presAssocID="{A9DBDF29-CD37-4A36-A726-296979C659C7}" presName="node" presStyleLbl="node1" presStyleIdx="0" presStyleCnt="7" custScaleX="110000" custScaleY="117240">
        <dgm:presLayoutVars>
          <dgm:bulletEnabled val="1"/>
        </dgm:presLayoutVars>
      </dgm:prSet>
      <dgm:spPr>
        <a:prstGeom prst="ellipse">
          <a:avLst/>
        </a:prstGeom>
      </dgm:spPr>
    </dgm:pt>
    <dgm:pt modelId="{3C7DFE3E-EA08-433E-AE19-7F7BF869E7DC}" type="pres">
      <dgm:prSet presAssocID="{B4D6DC99-6BE2-4891-9A03-DCB8D6826FD9}" presName="sibTrans" presStyleLbl="sibTrans2D1" presStyleIdx="0" presStyleCnt="6" custScaleX="75132" custScaleY="75132"/>
      <dgm:spPr/>
    </dgm:pt>
    <dgm:pt modelId="{F3C62C63-47F8-4437-84A2-1C1F52FD06B0}" type="pres">
      <dgm:prSet presAssocID="{B4D6DC99-6BE2-4891-9A03-DCB8D6826FD9}" presName="connectorText" presStyleLbl="sibTrans2D1" presStyleIdx="0" presStyleCnt="6"/>
      <dgm:spPr/>
    </dgm:pt>
    <dgm:pt modelId="{9777338B-80E0-48DC-9CC7-65EB2151EE7F}" type="pres">
      <dgm:prSet presAssocID="{808E6E10-5688-45E0-9773-DBE8005F2AF0}" presName="node" presStyleLbl="node1" presStyleIdx="1" presStyleCnt="7" custScaleX="110000" custScaleY="105816">
        <dgm:presLayoutVars>
          <dgm:bulletEnabled val="1"/>
        </dgm:presLayoutVars>
      </dgm:prSet>
      <dgm:spPr>
        <a:prstGeom prst="ellipse">
          <a:avLst/>
        </a:prstGeom>
      </dgm:spPr>
    </dgm:pt>
    <dgm:pt modelId="{1A29F931-D03A-4D43-B47D-0F2B80FA61A2}" type="pres">
      <dgm:prSet presAssocID="{4B8CE66B-E524-4746-84C3-46EA042F9D1A}" presName="sibTrans" presStyleLbl="sibTrans2D1" presStyleIdx="1" presStyleCnt="6" custScaleX="75132" custScaleY="75132"/>
      <dgm:spPr/>
    </dgm:pt>
    <dgm:pt modelId="{CB0D1F45-2316-4B9E-8512-0BB5EABA6063}" type="pres">
      <dgm:prSet presAssocID="{4B8CE66B-E524-4746-84C3-46EA042F9D1A}" presName="connectorText" presStyleLbl="sibTrans2D1" presStyleIdx="1" presStyleCnt="6"/>
      <dgm:spPr/>
    </dgm:pt>
    <dgm:pt modelId="{9494A1CD-050E-47A2-8F7A-C014F6ECA408}" type="pres">
      <dgm:prSet presAssocID="{C2253301-EDE7-4919-A3B0-E0DA143303EC}" presName="node" presStyleLbl="node1" presStyleIdx="2" presStyleCnt="7" custScaleX="110000" custScaleY="111357" custLinFactNeighborX="-224" custLinFactNeighborY="6167">
        <dgm:presLayoutVars>
          <dgm:bulletEnabled val="1"/>
        </dgm:presLayoutVars>
      </dgm:prSet>
      <dgm:spPr>
        <a:prstGeom prst="ellipse">
          <a:avLst/>
        </a:prstGeom>
      </dgm:spPr>
    </dgm:pt>
    <dgm:pt modelId="{C598771D-F71C-4B4E-B3E6-9EC96FCC6D4C}" type="pres">
      <dgm:prSet presAssocID="{928F838E-E350-488E-85A1-50DE6DFA27D9}" presName="sibTrans" presStyleLbl="sibTrans2D1" presStyleIdx="2" presStyleCnt="6" custScaleX="75132" custScaleY="75132"/>
      <dgm:spPr/>
    </dgm:pt>
    <dgm:pt modelId="{3CB8537C-05AB-440A-8C5A-92556B701FEF}" type="pres">
      <dgm:prSet presAssocID="{928F838E-E350-488E-85A1-50DE6DFA27D9}" presName="connectorText" presStyleLbl="sibTrans2D1" presStyleIdx="2" presStyleCnt="6"/>
      <dgm:spPr/>
    </dgm:pt>
    <dgm:pt modelId="{C2B3BB8A-DC2E-4D41-9DDC-54D90F731BEC}" type="pres">
      <dgm:prSet presAssocID="{72B468A2-8F19-4729-AF45-EE982670C3AD}" presName="node" presStyleLbl="node1" presStyleIdx="3" presStyleCnt="7" custScaleX="110000" custScaleY="104534">
        <dgm:presLayoutVars>
          <dgm:bulletEnabled val="1"/>
        </dgm:presLayoutVars>
      </dgm:prSet>
      <dgm:spPr>
        <a:prstGeom prst="ellipse">
          <a:avLst/>
        </a:prstGeom>
      </dgm:spPr>
    </dgm:pt>
    <dgm:pt modelId="{1D4AF22D-2F7A-44CF-A74F-DCE9D3876DE2}" type="pres">
      <dgm:prSet presAssocID="{78C68045-F640-4BEE-B409-7C1790B04F3C}" presName="sibTrans" presStyleLbl="sibTrans2D1" presStyleIdx="3" presStyleCnt="6" custScaleX="75132" custScaleY="75132"/>
      <dgm:spPr/>
    </dgm:pt>
    <dgm:pt modelId="{C1090445-5526-4B67-96CB-8D1A953CA6D1}" type="pres">
      <dgm:prSet presAssocID="{78C68045-F640-4BEE-B409-7C1790B04F3C}" presName="connectorText" presStyleLbl="sibTrans2D1" presStyleIdx="3" presStyleCnt="6"/>
      <dgm:spPr/>
    </dgm:pt>
    <dgm:pt modelId="{2B18EB33-F024-47FE-A715-52903286E518}" type="pres">
      <dgm:prSet presAssocID="{0BF5C513-F8C7-41F6-9716-26D17988DA80}" presName="node" presStyleLbl="node1" presStyleIdx="4" presStyleCnt="7" custScaleX="110000" custScaleY="104534">
        <dgm:presLayoutVars>
          <dgm:bulletEnabled val="1"/>
        </dgm:presLayoutVars>
      </dgm:prSet>
      <dgm:spPr>
        <a:prstGeom prst="ellipse">
          <a:avLst/>
        </a:prstGeom>
      </dgm:spPr>
    </dgm:pt>
    <dgm:pt modelId="{8BAB906F-28EB-4420-919C-17B4712A0C4F}" type="pres">
      <dgm:prSet presAssocID="{4D3A88AE-1119-4E2D-9EC8-F3B5435114B1}" presName="sibTrans" presStyleLbl="sibTrans2D1" presStyleIdx="4" presStyleCnt="6" custScaleX="75132" custScaleY="75132"/>
      <dgm:spPr/>
    </dgm:pt>
    <dgm:pt modelId="{47B8102E-D7CF-438A-81C3-ECCC80329D1E}" type="pres">
      <dgm:prSet presAssocID="{4D3A88AE-1119-4E2D-9EC8-F3B5435114B1}" presName="connectorText" presStyleLbl="sibTrans2D1" presStyleIdx="4" presStyleCnt="6"/>
      <dgm:spPr/>
    </dgm:pt>
    <dgm:pt modelId="{34D5C79A-98E0-4988-B90A-6400745CC9E0}" type="pres">
      <dgm:prSet presAssocID="{DDF04FAA-4852-45A7-AD60-8688D8B22C62}" presName="node" presStyleLbl="node1" presStyleIdx="5" presStyleCnt="7" custScaleX="110000" custScaleY="104534">
        <dgm:presLayoutVars>
          <dgm:bulletEnabled val="1"/>
        </dgm:presLayoutVars>
      </dgm:prSet>
      <dgm:spPr>
        <a:prstGeom prst="ellipse">
          <a:avLst/>
        </a:prstGeom>
      </dgm:spPr>
    </dgm:pt>
    <dgm:pt modelId="{3C228663-F9D3-4A98-9AD8-151444216910}" type="pres">
      <dgm:prSet presAssocID="{E3B2E5AA-9A2C-4DF1-AB4D-50C1331E5F8A}" presName="sibTrans" presStyleLbl="sibTrans2D1" presStyleIdx="5" presStyleCnt="6" custScaleX="75132" custScaleY="75132"/>
      <dgm:spPr/>
    </dgm:pt>
    <dgm:pt modelId="{3EA57340-FB9C-473D-AD8B-224A3D17EDDA}" type="pres">
      <dgm:prSet presAssocID="{E3B2E5AA-9A2C-4DF1-AB4D-50C1331E5F8A}" presName="connectorText" presStyleLbl="sibTrans2D1" presStyleIdx="5" presStyleCnt="6"/>
      <dgm:spPr/>
    </dgm:pt>
    <dgm:pt modelId="{171052BF-4743-4E8F-822B-14E1956A3F35}" type="pres">
      <dgm:prSet presAssocID="{DA0C6883-F737-4C3D-B379-E543387A47DB}" presName="node" presStyleLbl="node1" presStyleIdx="6" presStyleCnt="7" custScaleX="110000" custScaleY="104534">
        <dgm:presLayoutVars>
          <dgm:bulletEnabled val="1"/>
        </dgm:presLayoutVars>
      </dgm:prSet>
      <dgm:spPr>
        <a:prstGeom prst="ellipse">
          <a:avLst/>
        </a:prstGeom>
      </dgm:spPr>
    </dgm:pt>
  </dgm:ptLst>
  <dgm:cxnLst>
    <dgm:cxn modelId="{551B6709-4BB8-4C4F-8463-C69FC6DD5607}" type="presOf" srcId="{B4D6DC99-6BE2-4891-9A03-DCB8D6826FD9}" destId="{F3C62C63-47F8-4437-84A2-1C1F52FD06B0}" srcOrd="1" destOrd="0" presId="urn:microsoft.com/office/officeart/2005/8/layout/process1"/>
    <dgm:cxn modelId="{1787BE09-8F26-4DDB-915B-6C00352623DE}" srcId="{3DB9A07C-021D-4908-8734-1451FD05A31F}" destId="{808E6E10-5688-45E0-9773-DBE8005F2AF0}" srcOrd="1" destOrd="0" parTransId="{A23F8F25-8F4B-4223-9D83-314B0DE3A2F4}" sibTransId="{4B8CE66B-E524-4746-84C3-46EA042F9D1A}"/>
    <dgm:cxn modelId="{B832E809-D825-4BB5-98F9-8644D6E96F50}" type="presOf" srcId="{A9DBDF29-CD37-4A36-A726-296979C659C7}" destId="{CF462E42-1621-4AE8-8246-51E793A4F022}" srcOrd="0" destOrd="0" presId="urn:microsoft.com/office/officeart/2005/8/layout/process1"/>
    <dgm:cxn modelId="{007B210A-8522-462F-9BF6-02966F03C4AF}" type="presOf" srcId="{DA0C6883-F737-4C3D-B379-E543387A47DB}" destId="{171052BF-4743-4E8F-822B-14E1956A3F35}" srcOrd="0" destOrd="0" presId="urn:microsoft.com/office/officeart/2005/8/layout/process1"/>
    <dgm:cxn modelId="{38AE2B13-CBEA-45A7-9589-022042B95ACC}" type="presOf" srcId="{4D3A88AE-1119-4E2D-9EC8-F3B5435114B1}" destId="{47B8102E-D7CF-438A-81C3-ECCC80329D1E}" srcOrd="1" destOrd="0" presId="urn:microsoft.com/office/officeart/2005/8/layout/process1"/>
    <dgm:cxn modelId="{25F68630-5906-4E13-8E06-172BDDFC4AA4}" srcId="{3DB9A07C-021D-4908-8734-1451FD05A31F}" destId="{A9DBDF29-CD37-4A36-A726-296979C659C7}" srcOrd="0" destOrd="0" parTransId="{E3FEDB2A-8F0B-4481-98FF-8A9BA7062B97}" sibTransId="{B4D6DC99-6BE2-4891-9A03-DCB8D6826FD9}"/>
    <dgm:cxn modelId="{1603C03B-C188-4034-A7E9-0652095BFCCD}" type="presOf" srcId="{4B8CE66B-E524-4746-84C3-46EA042F9D1A}" destId="{1A29F931-D03A-4D43-B47D-0F2B80FA61A2}" srcOrd="0" destOrd="0" presId="urn:microsoft.com/office/officeart/2005/8/layout/process1"/>
    <dgm:cxn modelId="{F2D1A93F-A719-4CED-A381-DA2299FA484F}" srcId="{3DB9A07C-021D-4908-8734-1451FD05A31F}" destId="{72B468A2-8F19-4729-AF45-EE982670C3AD}" srcOrd="3" destOrd="0" parTransId="{EDF39BAC-7909-404A-8FDA-9A0B92912A4C}" sibTransId="{78C68045-F640-4BEE-B409-7C1790B04F3C}"/>
    <dgm:cxn modelId="{9FC3955E-0BDA-40A8-BE94-6B193CBC2D49}" type="presOf" srcId="{3DB9A07C-021D-4908-8734-1451FD05A31F}" destId="{FC5F1E3A-5F4C-4B84-A31F-4B589972F703}" srcOrd="0" destOrd="0" presId="urn:microsoft.com/office/officeart/2005/8/layout/process1"/>
    <dgm:cxn modelId="{3EA80E75-DF8E-4904-B1AE-C8FCE72FC1F0}" srcId="{3DB9A07C-021D-4908-8734-1451FD05A31F}" destId="{DA0C6883-F737-4C3D-B379-E543387A47DB}" srcOrd="6" destOrd="0" parTransId="{027C68C6-93F9-451E-A2CF-BEEC6D13E3CC}" sibTransId="{F0FE35BE-8460-4E30-86B7-B9462011163F}"/>
    <dgm:cxn modelId="{5D8D6F7D-4F48-408F-9595-A44CF81C6D78}" srcId="{3DB9A07C-021D-4908-8734-1451FD05A31F}" destId="{DDF04FAA-4852-45A7-AD60-8688D8B22C62}" srcOrd="5" destOrd="0" parTransId="{04F96AB4-5C76-4CE6-BF2C-5E1D2D0A677A}" sibTransId="{E3B2E5AA-9A2C-4DF1-AB4D-50C1331E5F8A}"/>
    <dgm:cxn modelId="{7A5AAC7D-5FA5-4A07-9447-3F28C6C5A595}" type="presOf" srcId="{808E6E10-5688-45E0-9773-DBE8005F2AF0}" destId="{9777338B-80E0-48DC-9CC7-65EB2151EE7F}" srcOrd="0" destOrd="0" presId="urn:microsoft.com/office/officeart/2005/8/layout/process1"/>
    <dgm:cxn modelId="{4AB06F84-FDB9-4A62-A1D5-E27DF5E58061}" type="presOf" srcId="{E3B2E5AA-9A2C-4DF1-AB4D-50C1331E5F8A}" destId="{3C228663-F9D3-4A98-9AD8-151444216910}" srcOrd="0" destOrd="0" presId="urn:microsoft.com/office/officeart/2005/8/layout/process1"/>
    <dgm:cxn modelId="{E27F2389-01C1-457B-84B6-45C20740C9A8}" type="presOf" srcId="{78C68045-F640-4BEE-B409-7C1790B04F3C}" destId="{1D4AF22D-2F7A-44CF-A74F-DCE9D3876DE2}" srcOrd="0" destOrd="0" presId="urn:microsoft.com/office/officeart/2005/8/layout/process1"/>
    <dgm:cxn modelId="{489C3492-1BEA-4E56-AA8B-E65B96A69A6D}" type="presOf" srcId="{C2253301-EDE7-4919-A3B0-E0DA143303EC}" destId="{9494A1CD-050E-47A2-8F7A-C014F6ECA408}" srcOrd="0" destOrd="0" presId="urn:microsoft.com/office/officeart/2005/8/layout/process1"/>
    <dgm:cxn modelId="{DBEE519E-A3AB-41B5-AEB7-3FBA1EC570DB}" type="presOf" srcId="{DDF04FAA-4852-45A7-AD60-8688D8B22C62}" destId="{34D5C79A-98E0-4988-B90A-6400745CC9E0}" srcOrd="0" destOrd="0" presId="urn:microsoft.com/office/officeart/2005/8/layout/process1"/>
    <dgm:cxn modelId="{5E09B4A5-F535-49C7-9F5C-53E58E4BE6A8}" type="presOf" srcId="{78C68045-F640-4BEE-B409-7C1790B04F3C}" destId="{C1090445-5526-4B67-96CB-8D1A953CA6D1}" srcOrd="1" destOrd="0" presId="urn:microsoft.com/office/officeart/2005/8/layout/process1"/>
    <dgm:cxn modelId="{8DD80DB1-742F-4634-8E2E-2F518C88E2A6}" type="presOf" srcId="{4B8CE66B-E524-4746-84C3-46EA042F9D1A}" destId="{CB0D1F45-2316-4B9E-8512-0BB5EABA6063}" srcOrd="1" destOrd="0" presId="urn:microsoft.com/office/officeart/2005/8/layout/process1"/>
    <dgm:cxn modelId="{1A5897B7-DA29-4B08-8622-393A5F9397C2}" srcId="{3DB9A07C-021D-4908-8734-1451FD05A31F}" destId="{C2253301-EDE7-4919-A3B0-E0DA143303EC}" srcOrd="2" destOrd="0" parTransId="{A8D1BABA-CCA1-4EF6-8912-ED327C1ABCBA}" sibTransId="{928F838E-E350-488E-85A1-50DE6DFA27D9}"/>
    <dgm:cxn modelId="{ACCA51BC-0CD3-454C-8323-05D87DD809E4}" type="presOf" srcId="{B4D6DC99-6BE2-4891-9A03-DCB8D6826FD9}" destId="{3C7DFE3E-EA08-433E-AE19-7F7BF869E7DC}" srcOrd="0" destOrd="0" presId="urn:microsoft.com/office/officeart/2005/8/layout/process1"/>
    <dgm:cxn modelId="{9B1236C4-D3CC-49B2-B9A2-96AB12907FA2}" type="presOf" srcId="{4D3A88AE-1119-4E2D-9EC8-F3B5435114B1}" destId="{8BAB906F-28EB-4420-919C-17B4712A0C4F}" srcOrd="0" destOrd="0" presId="urn:microsoft.com/office/officeart/2005/8/layout/process1"/>
    <dgm:cxn modelId="{371B58DD-1EC0-42E2-809E-AE578AAC4231}" srcId="{3DB9A07C-021D-4908-8734-1451FD05A31F}" destId="{0BF5C513-F8C7-41F6-9716-26D17988DA80}" srcOrd="4" destOrd="0" parTransId="{68A893C5-1809-408A-A087-03E8DDBBDB96}" sibTransId="{4D3A88AE-1119-4E2D-9EC8-F3B5435114B1}"/>
    <dgm:cxn modelId="{41F6DEEB-DED1-45BE-B9F9-F37FC14DB60A}" type="presOf" srcId="{928F838E-E350-488E-85A1-50DE6DFA27D9}" destId="{3CB8537C-05AB-440A-8C5A-92556B701FEF}" srcOrd="1" destOrd="0" presId="urn:microsoft.com/office/officeart/2005/8/layout/process1"/>
    <dgm:cxn modelId="{BC3963EC-337A-4FB9-B8E3-A42E5EFA6639}" type="presOf" srcId="{928F838E-E350-488E-85A1-50DE6DFA27D9}" destId="{C598771D-F71C-4B4E-B3E6-9EC96FCC6D4C}" srcOrd="0" destOrd="0" presId="urn:microsoft.com/office/officeart/2005/8/layout/process1"/>
    <dgm:cxn modelId="{718740EE-BBAE-422E-8E1F-01C6F167070B}" type="presOf" srcId="{0BF5C513-F8C7-41F6-9716-26D17988DA80}" destId="{2B18EB33-F024-47FE-A715-52903286E518}" srcOrd="0" destOrd="0" presId="urn:microsoft.com/office/officeart/2005/8/layout/process1"/>
    <dgm:cxn modelId="{A6C600F2-8D15-4694-B5C8-49BC0E79A78A}" type="presOf" srcId="{E3B2E5AA-9A2C-4DF1-AB4D-50C1331E5F8A}" destId="{3EA57340-FB9C-473D-AD8B-224A3D17EDDA}" srcOrd="1" destOrd="0" presId="urn:microsoft.com/office/officeart/2005/8/layout/process1"/>
    <dgm:cxn modelId="{2B3E9EF8-F720-420A-9582-0F8F69BE782E}" type="presOf" srcId="{72B468A2-8F19-4729-AF45-EE982670C3AD}" destId="{C2B3BB8A-DC2E-4D41-9DDC-54D90F731BEC}" srcOrd="0" destOrd="0" presId="urn:microsoft.com/office/officeart/2005/8/layout/process1"/>
    <dgm:cxn modelId="{D6D03E39-64AD-49F6-AC4E-8782C8E4B752}" type="presParOf" srcId="{FC5F1E3A-5F4C-4B84-A31F-4B589972F703}" destId="{CF462E42-1621-4AE8-8246-51E793A4F022}" srcOrd="0" destOrd="0" presId="urn:microsoft.com/office/officeart/2005/8/layout/process1"/>
    <dgm:cxn modelId="{A211AA28-C42E-4068-B0ED-38B35BEF3EA3}" type="presParOf" srcId="{FC5F1E3A-5F4C-4B84-A31F-4B589972F703}" destId="{3C7DFE3E-EA08-433E-AE19-7F7BF869E7DC}" srcOrd="1" destOrd="0" presId="urn:microsoft.com/office/officeart/2005/8/layout/process1"/>
    <dgm:cxn modelId="{E6205930-2363-4F4E-B232-F940C1E025C5}" type="presParOf" srcId="{3C7DFE3E-EA08-433E-AE19-7F7BF869E7DC}" destId="{F3C62C63-47F8-4437-84A2-1C1F52FD06B0}" srcOrd="0" destOrd="0" presId="urn:microsoft.com/office/officeart/2005/8/layout/process1"/>
    <dgm:cxn modelId="{C908CA45-CBBF-4F67-9675-5538FA0A6DD4}" type="presParOf" srcId="{FC5F1E3A-5F4C-4B84-A31F-4B589972F703}" destId="{9777338B-80E0-48DC-9CC7-65EB2151EE7F}" srcOrd="2" destOrd="0" presId="urn:microsoft.com/office/officeart/2005/8/layout/process1"/>
    <dgm:cxn modelId="{FA2FD8A0-850F-42E4-AE8C-DF673B6BEFF1}" type="presParOf" srcId="{FC5F1E3A-5F4C-4B84-A31F-4B589972F703}" destId="{1A29F931-D03A-4D43-B47D-0F2B80FA61A2}" srcOrd="3" destOrd="0" presId="urn:microsoft.com/office/officeart/2005/8/layout/process1"/>
    <dgm:cxn modelId="{605549E5-687C-43F8-8AD6-1242332E3A7A}" type="presParOf" srcId="{1A29F931-D03A-4D43-B47D-0F2B80FA61A2}" destId="{CB0D1F45-2316-4B9E-8512-0BB5EABA6063}" srcOrd="0" destOrd="0" presId="urn:microsoft.com/office/officeart/2005/8/layout/process1"/>
    <dgm:cxn modelId="{5AF07DD5-BBC6-433F-85AA-1FEF6DC95B50}" type="presParOf" srcId="{FC5F1E3A-5F4C-4B84-A31F-4B589972F703}" destId="{9494A1CD-050E-47A2-8F7A-C014F6ECA408}" srcOrd="4" destOrd="0" presId="urn:microsoft.com/office/officeart/2005/8/layout/process1"/>
    <dgm:cxn modelId="{603DCB1A-EC22-4A8F-B7A3-5F820071DC52}" type="presParOf" srcId="{FC5F1E3A-5F4C-4B84-A31F-4B589972F703}" destId="{C598771D-F71C-4B4E-B3E6-9EC96FCC6D4C}" srcOrd="5" destOrd="0" presId="urn:microsoft.com/office/officeart/2005/8/layout/process1"/>
    <dgm:cxn modelId="{B9C01005-8857-4F57-8998-12BBC3B45390}" type="presParOf" srcId="{C598771D-F71C-4B4E-B3E6-9EC96FCC6D4C}" destId="{3CB8537C-05AB-440A-8C5A-92556B701FEF}" srcOrd="0" destOrd="0" presId="urn:microsoft.com/office/officeart/2005/8/layout/process1"/>
    <dgm:cxn modelId="{23F48929-4035-4551-B5F9-2C523F584D08}" type="presParOf" srcId="{FC5F1E3A-5F4C-4B84-A31F-4B589972F703}" destId="{C2B3BB8A-DC2E-4D41-9DDC-54D90F731BEC}" srcOrd="6" destOrd="0" presId="urn:microsoft.com/office/officeart/2005/8/layout/process1"/>
    <dgm:cxn modelId="{4365FCAB-6B05-459F-A95C-E7F3565BBCC2}" type="presParOf" srcId="{FC5F1E3A-5F4C-4B84-A31F-4B589972F703}" destId="{1D4AF22D-2F7A-44CF-A74F-DCE9D3876DE2}" srcOrd="7" destOrd="0" presId="urn:microsoft.com/office/officeart/2005/8/layout/process1"/>
    <dgm:cxn modelId="{D22B8FE6-B071-47F2-8E9E-FF91A363C38B}" type="presParOf" srcId="{1D4AF22D-2F7A-44CF-A74F-DCE9D3876DE2}" destId="{C1090445-5526-4B67-96CB-8D1A953CA6D1}" srcOrd="0" destOrd="0" presId="urn:microsoft.com/office/officeart/2005/8/layout/process1"/>
    <dgm:cxn modelId="{3C206A99-7684-4424-B909-A30B4B94ADB7}" type="presParOf" srcId="{FC5F1E3A-5F4C-4B84-A31F-4B589972F703}" destId="{2B18EB33-F024-47FE-A715-52903286E518}" srcOrd="8" destOrd="0" presId="urn:microsoft.com/office/officeart/2005/8/layout/process1"/>
    <dgm:cxn modelId="{6A2BD82E-009F-418E-B78D-3F43D35567D9}" type="presParOf" srcId="{FC5F1E3A-5F4C-4B84-A31F-4B589972F703}" destId="{8BAB906F-28EB-4420-919C-17B4712A0C4F}" srcOrd="9" destOrd="0" presId="urn:microsoft.com/office/officeart/2005/8/layout/process1"/>
    <dgm:cxn modelId="{B018EE40-F939-459C-BE4C-5D1EC4216FF5}" type="presParOf" srcId="{8BAB906F-28EB-4420-919C-17B4712A0C4F}" destId="{47B8102E-D7CF-438A-81C3-ECCC80329D1E}" srcOrd="0" destOrd="0" presId="urn:microsoft.com/office/officeart/2005/8/layout/process1"/>
    <dgm:cxn modelId="{75E21E1A-D085-4F85-8699-BFA59476C9D5}" type="presParOf" srcId="{FC5F1E3A-5F4C-4B84-A31F-4B589972F703}" destId="{34D5C79A-98E0-4988-B90A-6400745CC9E0}" srcOrd="10" destOrd="0" presId="urn:microsoft.com/office/officeart/2005/8/layout/process1"/>
    <dgm:cxn modelId="{509B8E0D-E301-47B7-AD07-0141A2FB42E0}" type="presParOf" srcId="{FC5F1E3A-5F4C-4B84-A31F-4B589972F703}" destId="{3C228663-F9D3-4A98-9AD8-151444216910}" srcOrd="11" destOrd="0" presId="urn:microsoft.com/office/officeart/2005/8/layout/process1"/>
    <dgm:cxn modelId="{20F94AB1-9EE9-498A-A3CF-68C54F2C3A34}" type="presParOf" srcId="{3C228663-F9D3-4A98-9AD8-151444216910}" destId="{3EA57340-FB9C-473D-AD8B-224A3D17EDDA}" srcOrd="0" destOrd="0" presId="urn:microsoft.com/office/officeart/2005/8/layout/process1"/>
    <dgm:cxn modelId="{E4952E7C-00A7-4475-A4FE-1B86D5EA29F0}" type="presParOf" srcId="{FC5F1E3A-5F4C-4B84-A31F-4B589972F703}" destId="{171052BF-4743-4E8F-822B-14E1956A3F35}" srcOrd="12" destOrd="0" presId="urn:microsoft.com/office/officeart/2005/8/layout/process1"/>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DB9A07C-021D-4908-8734-1451FD05A31F}" type="doc">
      <dgm:prSet loTypeId="urn:microsoft.com/office/officeart/2005/8/layout/process1" loCatId="process" qsTypeId="urn:microsoft.com/office/officeart/2005/8/quickstyle/simple1" qsCatId="simple" csTypeId="urn:microsoft.com/office/officeart/2005/8/colors/accent0_2" csCatId="mainScheme" phldr="1"/>
      <dgm:spPr/>
    </dgm:pt>
    <dgm:pt modelId="{808E6E10-5688-45E0-9773-DBE8005F2AF0}">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Word2Vec</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A23F8F25-8F4B-4223-9D83-314B0DE3A2F4}" type="parTrans" cxnId="{1787BE09-8F26-4DDB-915B-6C00352623DE}">
      <dgm:prSet/>
      <dgm:spPr/>
      <dgm:t>
        <a:bodyPr/>
        <a:lstStyle/>
        <a:p>
          <a:endParaRPr lang="nl-BE"/>
        </a:p>
      </dgm:t>
    </dgm:pt>
    <dgm:pt modelId="{4B8CE66B-E524-4746-84C3-46EA042F9D1A}" type="sibTrans" cxnId="{1787BE09-8F26-4DDB-915B-6C00352623DE}">
      <dgm:prSet/>
      <dgm:spPr>
        <a:solidFill>
          <a:schemeClr val="tx1"/>
        </a:solidFill>
      </dgm:spPr>
      <dgm:t>
        <a:bodyPr/>
        <a:lstStyle/>
        <a:p>
          <a:endParaRPr lang="nl-BE"/>
        </a:p>
      </dgm:t>
    </dgm:pt>
    <dgm:pt modelId="{C2253301-EDE7-4919-A3B0-E0DA143303EC}">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A8D1BABA-CCA1-4EF6-8912-ED327C1ABCBA}" type="parTrans" cxnId="{1A5897B7-DA29-4B08-8622-393A5F9397C2}">
      <dgm:prSet/>
      <dgm:spPr/>
      <dgm:t>
        <a:bodyPr/>
        <a:lstStyle/>
        <a:p>
          <a:endParaRPr lang="nl-BE"/>
        </a:p>
      </dgm:t>
    </dgm:pt>
    <dgm:pt modelId="{928F838E-E350-488E-85A1-50DE6DFA27D9}" type="sibTrans" cxnId="{1A5897B7-DA29-4B08-8622-393A5F9397C2}">
      <dgm:prSet/>
      <dgm:spPr>
        <a:solidFill>
          <a:schemeClr val="tx1"/>
        </a:solidFill>
      </dgm:spPr>
      <dgm:t>
        <a:bodyPr/>
        <a:lstStyle/>
        <a:p>
          <a:endParaRPr lang="nl-BE"/>
        </a:p>
      </dgm:t>
    </dgm:pt>
    <dgm:pt modelId="{0BF5C513-F8C7-41F6-9716-26D17988DA80}">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Standard-</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rPr>
            <a:t>Sca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68A893C5-1809-408A-A087-03E8DDBBDB96}" type="parTrans" cxnId="{371B58DD-1EC0-42E2-809E-AE578AAC4231}">
      <dgm:prSet/>
      <dgm:spPr/>
      <dgm:t>
        <a:bodyPr/>
        <a:lstStyle/>
        <a:p>
          <a:endParaRPr lang="nl-BE"/>
        </a:p>
      </dgm:t>
    </dgm:pt>
    <dgm:pt modelId="{4D3A88AE-1119-4E2D-9EC8-F3B5435114B1}" type="sibTrans" cxnId="{371B58DD-1EC0-42E2-809E-AE578AAC4231}">
      <dgm:prSet/>
      <dgm:spPr>
        <a:solidFill>
          <a:schemeClr val="tx1"/>
        </a:solidFill>
      </dgm:spPr>
      <dgm:t>
        <a:bodyPr/>
        <a:lstStyle/>
        <a:p>
          <a:endParaRPr lang="nl-BE"/>
        </a:p>
      </dgm:t>
    </dgm:pt>
    <dgm:pt modelId="{DDF04FAA-4852-45A7-AD60-8688D8B22C62}">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04F96AB4-5C76-4CE6-BF2C-5E1D2D0A677A}" type="parTrans" cxnId="{5D8D6F7D-4F48-408F-9595-A44CF81C6D78}">
      <dgm:prSet/>
      <dgm:spPr/>
      <dgm:t>
        <a:bodyPr/>
        <a:lstStyle/>
        <a:p>
          <a:endParaRPr lang="nl-BE"/>
        </a:p>
      </dgm:t>
    </dgm:pt>
    <dgm:pt modelId="{E3B2E5AA-9A2C-4DF1-AB4D-50C1331E5F8A}" type="sibTrans" cxnId="{5D8D6F7D-4F48-408F-9595-A44CF81C6D78}">
      <dgm:prSet/>
      <dgm:spPr>
        <a:solidFill>
          <a:schemeClr val="tx1"/>
        </a:solidFill>
      </dgm:spPr>
      <dgm:t>
        <a:bodyPr/>
        <a:lstStyle/>
        <a:p>
          <a:endParaRPr lang="nl-BE"/>
        </a:p>
      </dgm:t>
    </dgm:pt>
    <dgm:pt modelId="{DA0C6883-F737-4C3D-B379-E543387A47DB}">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Model</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027C68C6-93F9-451E-A2CF-BEEC6D13E3CC}" type="parTrans" cxnId="{3EA80E75-DF8E-4904-B1AE-C8FCE72FC1F0}">
      <dgm:prSet/>
      <dgm:spPr/>
      <dgm:t>
        <a:bodyPr/>
        <a:lstStyle/>
        <a:p>
          <a:endParaRPr lang="nl-BE"/>
        </a:p>
      </dgm:t>
    </dgm:pt>
    <dgm:pt modelId="{F0FE35BE-8460-4E30-86B7-B9462011163F}" type="sibTrans" cxnId="{3EA80E75-DF8E-4904-B1AE-C8FCE72FC1F0}">
      <dgm:prSet/>
      <dgm:spPr/>
      <dgm:t>
        <a:bodyPr/>
        <a:lstStyle/>
        <a:p>
          <a:endParaRPr lang="nl-BE"/>
        </a:p>
      </dgm:t>
    </dgm:pt>
    <dgm:pt modelId="{72B468A2-8F19-4729-AF45-EE982670C3AD}">
      <dgm:prSe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gm:t>
    </dgm:pt>
    <dgm:pt modelId="{EDF39BAC-7909-404A-8FDA-9A0B92912A4C}" type="parTrans" cxnId="{F2D1A93F-A719-4CED-A381-DA2299FA484F}">
      <dgm:prSet/>
      <dgm:spPr/>
      <dgm:t>
        <a:bodyPr/>
        <a:lstStyle/>
        <a:p>
          <a:endParaRPr lang="nl-BE"/>
        </a:p>
      </dgm:t>
    </dgm:pt>
    <dgm:pt modelId="{78C68045-F640-4BEE-B409-7C1790B04F3C}" type="sibTrans" cxnId="{F2D1A93F-A719-4CED-A381-DA2299FA484F}">
      <dgm:prSet/>
      <dgm:spPr>
        <a:solidFill>
          <a:schemeClr val="tx1"/>
        </a:solidFill>
      </dgm:spPr>
      <dgm:t>
        <a:bodyPr/>
        <a:lstStyle/>
        <a:p>
          <a:endParaRPr lang="nl-BE"/>
        </a:p>
      </dgm:t>
    </dgm:pt>
    <dgm:pt modelId="{A9DBDF29-CD37-4A36-A726-296979C659C7}">
      <dgm:prSet phldrT="[Tekst]" custT="1"/>
      <dgm:spPr>
        <a:noFill/>
        <a:ln>
          <a:solidFill>
            <a:schemeClr val="tx1"/>
          </a:solidFill>
          <a:extLst>
            <a:ext uri="{C807C97D-BFC1-408E-A445-0C87EB9F89A2}">
              <ask:lineSketchStyleProps xmlns:ask="http://schemas.microsoft.com/office/drawing/2018/sketchyshapes">
                <ask:type>
                  <ask:lineSketchCurved/>
                </ask:type>
              </ask:lineSketchStyleProps>
            </a:ext>
          </a:extLst>
        </a:ln>
      </dgm:spPr>
      <dgm:t>
        <a:bodyPr/>
        <a:lstStyle/>
        <a:p>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String-</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Index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endParaRPr>
        </a:p>
      </dgm:t>
    </dgm:pt>
    <dgm:pt modelId="{B4D6DC99-6BE2-4891-9A03-DCB8D6826FD9}" type="sibTrans" cxnId="{25F68630-5906-4E13-8E06-172BDDFC4AA4}">
      <dgm:prSet/>
      <dgm:spPr>
        <a:solidFill>
          <a:schemeClr val="tx1"/>
        </a:solidFill>
      </dgm:spPr>
      <dgm:t>
        <a:bodyPr/>
        <a:lstStyle/>
        <a:p>
          <a:endParaRPr lang="nl-BE"/>
        </a:p>
      </dgm:t>
    </dgm:pt>
    <dgm:pt modelId="{E3FEDB2A-8F0B-4481-98FF-8A9BA7062B97}" type="parTrans" cxnId="{25F68630-5906-4E13-8E06-172BDDFC4AA4}">
      <dgm:prSet/>
      <dgm:spPr/>
      <dgm:t>
        <a:bodyPr/>
        <a:lstStyle/>
        <a:p>
          <a:endParaRPr lang="nl-BE"/>
        </a:p>
      </dgm:t>
    </dgm:pt>
    <dgm:pt modelId="{FC5F1E3A-5F4C-4B84-A31F-4B589972F703}" type="pres">
      <dgm:prSet presAssocID="{3DB9A07C-021D-4908-8734-1451FD05A31F}" presName="Name0" presStyleCnt="0">
        <dgm:presLayoutVars>
          <dgm:dir/>
          <dgm:resizeHandles val="exact"/>
        </dgm:presLayoutVars>
      </dgm:prSet>
      <dgm:spPr/>
    </dgm:pt>
    <dgm:pt modelId="{CF462E42-1621-4AE8-8246-51E793A4F022}" type="pres">
      <dgm:prSet presAssocID="{A9DBDF29-CD37-4A36-A726-296979C659C7}" presName="node" presStyleLbl="node1" presStyleIdx="0" presStyleCnt="7" custScaleX="110000" custScaleY="117240">
        <dgm:presLayoutVars>
          <dgm:bulletEnabled val="1"/>
        </dgm:presLayoutVars>
      </dgm:prSet>
      <dgm:spPr>
        <a:prstGeom prst="ellipse">
          <a:avLst/>
        </a:prstGeom>
      </dgm:spPr>
    </dgm:pt>
    <dgm:pt modelId="{3C7DFE3E-EA08-433E-AE19-7F7BF869E7DC}" type="pres">
      <dgm:prSet presAssocID="{B4D6DC99-6BE2-4891-9A03-DCB8D6826FD9}" presName="sibTrans" presStyleLbl="sibTrans2D1" presStyleIdx="0" presStyleCnt="6" custScaleX="75132" custScaleY="75132"/>
      <dgm:spPr/>
    </dgm:pt>
    <dgm:pt modelId="{F3C62C63-47F8-4437-84A2-1C1F52FD06B0}" type="pres">
      <dgm:prSet presAssocID="{B4D6DC99-6BE2-4891-9A03-DCB8D6826FD9}" presName="connectorText" presStyleLbl="sibTrans2D1" presStyleIdx="0" presStyleCnt="6"/>
      <dgm:spPr/>
    </dgm:pt>
    <dgm:pt modelId="{9777338B-80E0-48DC-9CC7-65EB2151EE7F}" type="pres">
      <dgm:prSet presAssocID="{808E6E10-5688-45E0-9773-DBE8005F2AF0}" presName="node" presStyleLbl="node1" presStyleIdx="1" presStyleCnt="7" custScaleX="110000" custScaleY="105816">
        <dgm:presLayoutVars>
          <dgm:bulletEnabled val="1"/>
        </dgm:presLayoutVars>
      </dgm:prSet>
      <dgm:spPr>
        <a:prstGeom prst="ellipse">
          <a:avLst/>
        </a:prstGeom>
      </dgm:spPr>
    </dgm:pt>
    <dgm:pt modelId="{1A29F931-D03A-4D43-B47D-0F2B80FA61A2}" type="pres">
      <dgm:prSet presAssocID="{4B8CE66B-E524-4746-84C3-46EA042F9D1A}" presName="sibTrans" presStyleLbl="sibTrans2D1" presStyleIdx="1" presStyleCnt="6" custScaleX="75132" custScaleY="75132"/>
      <dgm:spPr/>
    </dgm:pt>
    <dgm:pt modelId="{CB0D1F45-2316-4B9E-8512-0BB5EABA6063}" type="pres">
      <dgm:prSet presAssocID="{4B8CE66B-E524-4746-84C3-46EA042F9D1A}" presName="connectorText" presStyleLbl="sibTrans2D1" presStyleIdx="1" presStyleCnt="6"/>
      <dgm:spPr/>
    </dgm:pt>
    <dgm:pt modelId="{9494A1CD-050E-47A2-8F7A-C014F6ECA408}" type="pres">
      <dgm:prSet presAssocID="{C2253301-EDE7-4919-A3B0-E0DA143303EC}" presName="node" presStyleLbl="node1" presStyleIdx="2" presStyleCnt="7" custScaleX="110000" custScaleY="111357" custLinFactNeighborX="-224" custLinFactNeighborY="6167">
        <dgm:presLayoutVars>
          <dgm:bulletEnabled val="1"/>
        </dgm:presLayoutVars>
      </dgm:prSet>
      <dgm:spPr>
        <a:prstGeom prst="ellipse">
          <a:avLst/>
        </a:prstGeom>
      </dgm:spPr>
    </dgm:pt>
    <dgm:pt modelId="{C598771D-F71C-4B4E-B3E6-9EC96FCC6D4C}" type="pres">
      <dgm:prSet presAssocID="{928F838E-E350-488E-85A1-50DE6DFA27D9}" presName="sibTrans" presStyleLbl="sibTrans2D1" presStyleIdx="2" presStyleCnt="6" custScaleX="75132" custScaleY="75132"/>
      <dgm:spPr/>
    </dgm:pt>
    <dgm:pt modelId="{3CB8537C-05AB-440A-8C5A-92556B701FEF}" type="pres">
      <dgm:prSet presAssocID="{928F838E-E350-488E-85A1-50DE6DFA27D9}" presName="connectorText" presStyleLbl="sibTrans2D1" presStyleIdx="2" presStyleCnt="6"/>
      <dgm:spPr/>
    </dgm:pt>
    <dgm:pt modelId="{C2B3BB8A-DC2E-4D41-9DDC-54D90F731BEC}" type="pres">
      <dgm:prSet presAssocID="{72B468A2-8F19-4729-AF45-EE982670C3AD}" presName="node" presStyleLbl="node1" presStyleIdx="3" presStyleCnt="7" custScaleX="110000" custScaleY="104534">
        <dgm:presLayoutVars>
          <dgm:bulletEnabled val="1"/>
        </dgm:presLayoutVars>
      </dgm:prSet>
      <dgm:spPr>
        <a:prstGeom prst="ellipse">
          <a:avLst/>
        </a:prstGeom>
      </dgm:spPr>
    </dgm:pt>
    <dgm:pt modelId="{1D4AF22D-2F7A-44CF-A74F-DCE9D3876DE2}" type="pres">
      <dgm:prSet presAssocID="{78C68045-F640-4BEE-B409-7C1790B04F3C}" presName="sibTrans" presStyleLbl="sibTrans2D1" presStyleIdx="3" presStyleCnt="6" custScaleX="75132" custScaleY="75132"/>
      <dgm:spPr/>
    </dgm:pt>
    <dgm:pt modelId="{C1090445-5526-4B67-96CB-8D1A953CA6D1}" type="pres">
      <dgm:prSet presAssocID="{78C68045-F640-4BEE-B409-7C1790B04F3C}" presName="connectorText" presStyleLbl="sibTrans2D1" presStyleIdx="3" presStyleCnt="6"/>
      <dgm:spPr/>
    </dgm:pt>
    <dgm:pt modelId="{2B18EB33-F024-47FE-A715-52903286E518}" type="pres">
      <dgm:prSet presAssocID="{0BF5C513-F8C7-41F6-9716-26D17988DA80}" presName="node" presStyleLbl="node1" presStyleIdx="4" presStyleCnt="7" custScaleX="110000" custScaleY="104534">
        <dgm:presLayoutVars>
          <dgm:bulletEnabled val="1"/>
        </dgm:presLayoutVars>
      </dgm:prSet>
      <dgm:spPr>
        <a:prstGeom prst="ellipse">
          <a:avLst/>
        </a:prstGeom>
      </dgm:spPr>
    </dgm:pt>
    <dgm:pt modelId="{8BAB906F-28EB-4420-919C-17B4712A0C4F}" type="pres">
      <dgm:prSet presAssocID="{4D3A88AE-1119-4E2D-9EC8-F3B5435114B1}" presName="sibTrans" presStyleLbl="sibTrans2D1" presStyleIdx="4" presStyleCnt="6" custScaleX="75132" custScaleY="75132"/>
      <dgm:spPr/>
    </dgm:pt>
    <dgm:pt modelId="{47B8102E-D7CF-438A-81C3-ECCC80329D1E}" type="pres">
      <dgm:prSet presAssocID="{4D3A88AE-1119-4E2D-9EC8-F3B5435114B1}" presName="connectorText" presStyleLbl="sibTrans2D1" presStyleIdx="4" presStyleCnt="6"/>
      <dgm:spPr/>
    </dgm:pt>
    <dgm:pt modelId="{34D5C79A-98E0-4988-B90A-6400745CC9E0}" type="pres">
      <dgm:prSet presAssocID="{DDF04FAA-4852-45A7-AD60-8688D8B22C62}" presName="node" presStyleLbl="node1" presStyleIdx="5" presStyleCnt="7" custScaleX="110000" custScaleY="104534">
        <dgm:presLayoutVars>
          <dgm:bulletEnabled val="1"/>
        </dgm:presLayoutVars>
      </dgm:prSet>
      <dgm:spPr>
        <a:prstGeom prst="ellipse">
          <a:avLst/>
        </a:prstGeom>
      </dgm:spPr>
    </dgm:pt>
    <dgm:pt modelId="{3C228663-F9D3-4A98-9AD8-151444216910}" type="pres">
      <dgm:prSet presAssocID="{E3B2E5AA-9A2C-4DF1-AB4D-50C1331E5F8A}" presName="sibTrans" presStyleLbl="sibTrans2D1" presStyleIdx="5" presStyleCnt="6" custScaleX="75132" custScaleY="75132"/>
      <dgm:spPr/>
    </dgm:pt>
    <dgm:pt modelId="{3EA57340-FB9C-473D-AD8B-224A3D17EDDA}" type="pres">
      <dgm:prSet presAssocID="{E3B2E5AA-9A2C-4DF1-AB4D-50C1331E5F8A}" presName="connectorText" presStyleLbl="sibTrans2D1" presStyleIdx="5" presStyleCnt="6"/>
      <dgm:spPr/>
    </dgm:pt>
    <dgm:pt modelId="{171052BF-4743-4E8F-822B-14E1956A3F35}" type="pres">
      <dgm:prSet presAssocID="{DA0C6883-F737-4C3D-B379-E543387A47DB}" presName="node" presStyleLbl="node1" presStyleIdx="6" presStyleCnt="7" custScaleX="110000" custScaleY="104534">
        <dgm:presLayoutVars>
          <dgm:bulletEnabled val="1"/>
        </dgm:presLayoutVars>
      </dgm:prSet>
      <dgm:spPr>
        <a:prstGeom prst="ellipse">
          <a:avLst/>
        </a:prstGeom>
      </dgm:spPr>
    </dgm:pt>
  </dgm:ptLst>
  <dgm:cxnLst>
    <dgm:cxn modelId="{551B6709-4BB8-4C4F-8463-C69FC6DD5607}" type="presOf" srcId="{B4D6DC99-6BE2-4891-9A03-DCB8D6826FD9}" destId="{F3C62C63-47F8-4437-84A2-1C1F52FD06B0}" srcOrd="1" destOrd="0" presId="urn:microsoft.com/office/officeart/2005/8/layout/process1"/>
    <dgm:cxn modelId="{1787BE09-8F26-4DDB-915B-6C00352623DE}" srcId="{3DB9A07C-021D-4908-8734-1451FD05A31F}" destId="{808E6E10-5688-45E0-9773-DBE8005F2AF0}" srcOrd="1" destOrd="0" parTransId="{A23F8F25-8F4B-4223-9D83-314B0DE3A2F4}" sibTransId="{4B8CE66B-E524-4746-84C3-46EA042F9D1A}"/>
    <dgm:cxn modelId="{B832E809-D825-4BB5-98F9-8644D6E96F50}" type="presOf" srcId="{A9DBDF29-CD37-4A36-A726-296979C659C7}" destId="{CF462E42-1621-4AE8-8246-51E793A4F022}" srcOrd="0" destOrd="0" presId="urn:microsoft.com/office/officeart/2005/8/layout/process1"/>
    <dgm:cxn modelId="{007B210A-8522-462F-9BF6-02966F03C4AF}" type="presOf" srcId="{DA0C6883-F737-4C3D-B379-E543387A47DB}" destId="{171052BF-4743-4E8F-822B-14E1956A3F35}" srcOrd="0" destOrd="0" presId="urn:microsoft.com/office/officeart/2005/8/layout/process1"/>
    <dgm:cxn modelId="{38AE2B13-CBEA-45A7-9589-022042B95ACC}" type="presOf" srcId="{4D3A88AE-1119-4E2D-9EC8-F3B5435114B1}" destId="{47B8102E-D7CF-438A-81C3-ECCC80329D1E}" srcOrd="1" destOrd="0" presId="urn:microsoft.com/office/officeart/2005/8/layout/process1"/>
    <dgm:cxn modelId="{25F68630-5906-4E13-8E06-172BDDFC4AA4}" srcId="{3DB9A07C-021D-4908-8734-1451FD05A31F}" destId="{A9DBDF29-CD37-4A36-A726-296979C659C7}" srcOrd="0" destOrd="0" parTransId="{E3FEDB2A-8F0B-4481-98FF-8A9BA7062B97}" sibTransId="{B4D6DC99-6BE2-4891-9A03-DCB8D6826FD9}"/>
    <dgm:cxn modelId="{1603C03B-C188-4034-A7E9-0652095BFCCD}" type="presOf" srcId="{4B8CE66B-E524-4746-84C3-46EA042F9D1A}" destId="{1A29F931-D03A-4D43-B47D-0F2B80FA61A2}" srcOrd="0" destOrd="0" presId="urn:microsoft.com/office/officeart/2005/8/layout/process1"/>
    <dgm:cxn modelId="{F2D1A93F-A719-4CED-A381-DA2299FA484F}" srcId="{3DB9A07C-021D-4908-8734-1451FD05A31F}" destId="{72B468A2-8F19-4729-AF45-EE982670C3AD}" srcOrd="3" destOrd="0" parTransId="{EDF39BAC-7909-404A-8FDA-9A0B92912A4C}" sibTransId="{78C68045-F640-4BEE-B409-7C1790B04F3C}"/>
    <dgm:cxn modelId="{9FC3955E-0BDA-40A8-BE94-6B193CBC2D49}" type="presOf" srcId="{3DB9A07C-021D-4908-8734-1451FD05A31F}" destId="{FC5F1E3A-5F4C-4B84-A31F-4B589972F703}" srcOrd="0" destOrd="0" presId="urn:microsoft.com/office/officeart/2005/8/layout/process1"/>
    <dgm:cxn modelId="{3EA80E75-DF8E-4904-B1AE-C8FCE72FC1F0}" srcId="{3DB9A07C-021D-4908-8734-1451FD05A31F}" destId="{DA0C6883-F737-4C3D-B379-E543387A47DB}" srcOrd="6" destOrd="0" parTransId="{027C68C6-93F9-451E-A2CF-BEEC6D13E3CC}" sibTransId="{F0FE35BE-8460-4E30-86B7-B9462011163F}"/>
    <dgm:cxn modelId="{5D8D6F7D-4F48-408F-9595-A44CF81C6D78}" srcId="{3DB9A07C-021D-4908-8734-1451FD05A31F}" destId="{DDF04FAA-4852-45A7-AD60-8688D8B22C62}" srcOrd="5" destOrd="0" parTransId="{04F96AB4-5C76-4CE6-BF2C-5E1D2D0A677A}" sibTransId="{E3B2E5AA-9A2C-4DF1-AB4D-50C1331E5F8A}"/>
    <dgm:cxn modelId="{7A5AAC7D-5FA5-4A07-9447-3F28C6C5A595}" type="presOf" srcId="{808E6E10-5688-45E0-9773-DBE8005F2AF0}" destId="{9777338B-80E0-48DC-9CC7-65EB2151EE7F}" srcOrd="0" destOrd="0" presId="urn:microsoft.com/office/officeart/2005/8/layout/process1"/>
    <dgm:cxn modelId="{4AB06F84-FDB9-4A62-A1D5-E27DF5E58061}" type="presOf" srcId="{E3B2E5AA-9A2C-4DF1-AB4D-50C1331E5F8A}" destId="{3C228663-F9D3-4A98-9AD8-151444216910}" srcOrd="0" destOrd="0" presId="urn:microsoft.com/office/officeart/2005/8/layout/process1"/>
    <dgm:cxn modelId="{E27F2389-01C1-457B-84B6-45C20740C9A8}" type="presOf" srcId="{78C68045-F640-4BEE-B409-7C1790B04F3C}" destId="{1D4AF22D-2F7A-44CF-A74F-DCE9D3876DE2}" srcOrd="0" destOrd="0" presId="urn:microsoft.com/office/officeart/2005/8/layout/process1"/>
    <dgm:cxn modelId="{489C3492-1BEA-4E56-AA8B-E65B96A69A6D}" type="presOf" srcId="{C2253301-EDE7-4919-A3B0-E0DA143303EC}" destId="{9494A1CD-050E-47A2-8F7A-C014F6ECA408}" srcOrd="0" destOrd="0" presId="urn:microsoft.com/office/officeart/2005/8/layout/process1"/>
    <dgm:cxn modelId="{DBEE519E-A3AB-41B5-AEB7-3FBA1EC570DB}" type="presOf" srcId="{DDF04FAA-4852-45A7-AD60-8688D8B22C62}" destId="{34D5C79A-98E0-4988-B90A-6400745CC9E0}" srcOrd="0" destOrd="0" presId="urn:microsoft.com/office/officeart/2005/8/layout/process1"/>
    <dgm:cxn modelId="{5E09B4A5-F535-49C7-9F5C-53E58E4BE6A8}" type="presOf" srcId="{78C68045-F640-4BEE-B409-7C1790B04F3C}" destId="{C1090445-5526-4B67-96CB-8D1A953CA6D1}" srcOrd="1" destOrd="0" presId="urn:microsoft.com/office/officeart/2005/8/layout/process1"/>
    <dgm:cxn modelId="{8DD80DB1-742F-4634-8E2E-2F518C88E2A6}" type="presOf" srcId="{4B8CE66B-E524-4746-84C3-46EA042F9D1A}" destId="{CB0D1F45-2316-4B9E-8512-0BB5EABA6063}" srcOrd="1" destOrd="0" presId="urn:microsoft.com/office/officeart/2005/8/layout/process1"/>
    <dgm:cxn modelId="{1A5897B7-DA29-4B08-8622-393A5F9397C2}" srcId="{3DB9A07C-021D-4908-8734-1451FD05A31F}" destId="{C2253301-EDE7-4919-A3B0-E0DA143303EC}" srcOrd="2" destOrd="0" parTransId="{A8D1BABA-CCA1-4EF6-8912-ED327C1ABCBA}" sibTransId="{928F838E-E350-488E-85A1-50DE6DFA27D9}"/>
    <dgm:cxn modelId="{ACCA51BC-0CD3-454C-8323-05D87DD809E4}" type="presOf" srcId="{B4D6DC99-6BE2-4891-9A03-DCB8D6826FD9}" destId="{3C7DFE3E-EA08-433E-AE19-7F7BF869E7DC}" srcOrd="0" destOrd="0" presId="urn:microsoft.com/office/officeart/2005/8/layout/process1"/>
    <dgm:cxn modelId="{9B1236C4-D3CC-49B2-B9A2-96AB12907FA2}" type="presOf" srcId="{4D3A88AE-1119-4E2D-9EC8-F3B5435114B1}" destId="{8BAB906F-28EB-4420-919C-17B4712A0C4F}" srcOrd="0" destOrd="0" presId="urn:microsoft.com/office/officeart/2005/8/layout/process1"/>
    <dgm:cxn modelId="{371B58DD-1EC0-42E2-809E-AE578AAC4231}" srcId="{3DB9A07C-021D-4908-8734-1451FD05A31F}" destId="{0BF5C513-F8C7-41F6-9716-26D17988DA80}" srcOrd="4" destOrd="0" parTransId="{68A893C5-1809-408A-A087-03E8DDBBDB96}" sibTransId="{4D3A88AE-1119-4E2D-9EC8-F3B5435114B1}"/>
    <dgm:cxn modelId="{41F6DEEB-DED1-45BE-B9F9-F37FC14DB60A}" type="presOf" srcId="{928F838E-E350-488E-85A1-50DE6DFA27D9}" destId="{3CB8537C-05AB-440A-8C5A-92556B701FEF}" srcOrd="1" destOrd="0" presId="urn:microsoft.com/office/officeart/2005/8/layout/process1"/>
    <dgm:cxn modelId="{BC3963EC-337A-4FB9-B8E3-A42E5EFA6639}" type="presOf" srcId="{928F838E-E350-488E-85A1-50DE6DFA27D9}" destId="{C598771D-F71C-4B4E-B3E6-9EC96FCC6D4C}" srcOrd="0" destOrd="0" presId="urn:microsoft.com/office/officeart/2005/8/layout/process1"/>
    <dgm:cxn modelId="{718740EE-BBAE-422E-8E1F-01C6F167070B}" type="presOf" srcId="{0BF5C513-F8C7-41F6-9716-26D17988DA80}" destId="{2B18EB33-F024-47FE-A715-52903286E518}" srcOrd="0" destOrd="0" presId="urn:microsoft.com/office/officeart/2005/8/layout/process1"/>
    <dgm:cxn modelId="{A6C600F2-8D15-4694-B5C8-49BC0E79A78A}" type="presOf" srcId="{E3B2E5AA-9A2C-4DF1-AB4D-50C1331E5F8A}" destId="{3EA57340-FB9C-473D-AD8B-224A3D17EDDA}" srcOrd="1" destOrd="0" presId="urn:microsoft.com/office/officeart/2005/8/layout/process1"/>
    <dgm:cxn modelId="{2B3E9EF8-F720-420A-9582-0F8F69BE782E}" type="presOf" srcId="{72B468A2-8F19-4729-AF45-EE982670C3AD}" destId="{C2B3BB8A-DC2E-4D41-9DDC-54D90F731BEC}" srcOrd="0" destOrd="0" presId="urn:microsoft.com/office/officeart/2005/8/layout/process1"/>
    <dgm:cxn modelId="{D6D03E39-64AD-49F6-AC4E-8782C8E4B752}" type="presParOf" srcId="{FC5F1E3A-5F4C-4B84-A31F-4B589972F703}" destId="{CF462E42-1621-4AE8-8246-51E793A4F022}" srcOrd="0" destOrd="0" presId="urn:microsoft.com/office/officeart/2005/8/layout/process1"/>
    <dgm:cxn modelId="{A211AA28-C42E-4068-B0ED-38B35BEF3EA3}" type="presParOf" srcId="{FC5F1E3A-5F4C-4B84-A31F-4B589972F703}" destId="{3C7DFE3E-EA08-433E-AE19-7F7BF869E7DC}" srcOrd="1" destOrd="0" presId="urn:microsoft.com/office/officeart/2005/8/layout/process1"/>
    <dgm:cxn modelId="{E6205930-2363-4F4E-B232-F940C1E025C5}" type="presParOf" srcId="{3C7DFE3E-EA08-433E-AE19-7F7BF869E7DC}" destId="{F3C62C63-47F8-4437-84A2-1C1F52FD06B0}" srcOrd="0" destOrd="0" presId="urn:microsoft.com/office/officeart/2005/8/layout/process1"/>
    <dgm:cxn modelId="{C908CA45-CBBF-4F67-9675-5538FA0A6DD4}" type="presParOf" srcId="{FC5F1E3A-5F4C-4B84-A31F-4B589972F703}" destId="{9777338B-80E0-48DC-9CC7-65EB2151EE7F}" srcOrd="2" destOrd="0" presId="urn:microsoft.com/office/officeart/2005/8/layout/process1"/>
    <dgm:cxn modelId="{FA2FD8A0-850F-42E4-AE8C-DF673B6BEFF1}" type="presParOf" srcId="{FC5F1E3A-5F4C-4B84-A31F-4B589972F703}" destId="{1A29F931-D03A-4D43-B47D-0F2B80FA61A2}" srcOrd="3" destOrd="0" presId="urn:microsoft.com/office/officeart/2005/8/layout/process1"/>
    <dgm:cxn modelId="{605549E5-687C-43F8-8AD6-1242332E3A7A}" type="presParOf" srcId="{1A29F931-D03A-4D43-B47D-0F2B80FA61A2}" destId="{CB0D1F45-2316-4B9E-8512-0BB5EABA6063}" srcOrd="0" destOrd="0" presId="urn:microsoft.com/office/officeart/2005/8/layout/process1"/>
    <dgm:cxn modelId="{5AF07DD5-BBC6-433F-85AA-1FEF6DC95B50}" type="presParOf" srcId="{FC5F1E3A-5F4C-4B84-A31F-4B589972F703}" destId="{9494A1CD-050E-47A2-8F7A-C014F6ECA408}" srcOrd="4" destOrd="0" presId="urn:microsoft.com/office/officeart/2005/8/layout/process1"/>
    <dgm:cxn modelId="{603DCB1A-EC22-4A8F-B7A3-5F820071DC52}" type="presParOf" srcId="{FC5F1E3A-5F4C-4B84-A31F-4B589972F703}" destId="{C598771D-F71C-4B4E-B3E6-9EC96FCC6D4C}" srcOrd="5" destOrd="0" presId="urn:microsoft.com/office/officeart/2005/8/layout/process1"/>
    <dgm:cxn modelId="{B9C01005-8857-4F57-8998-12BBC3B45390}" type="presParOf" srcId="{C598771D-F71C-4B4E-B3E6-9EC96FCC6D4C}" destId="{3CB8537C-05AB-440A-8C5A-92556B701FEF}" srcOrd="0" destOrd="0" presId="urn:microsoft.com/office/officeart/2005/8/layout/process1"/>
    <dgm:cxn modelId="{23F48929-4035-4551-B5F9-2C523F584D08}" type="presParOf" srcId="{FC5F1E3A-5F4C-4B84-A31F-4B589972F703}" destId="{C2B3BB8A-DC2E-4D41-9DDC-54D90F731BEC}" srcOrd="6" destOrd="0" presId="urn:microsoft.com/office/officeart/2005/8/layout/process1"/>
    <dgm:cxn modelId="{4365FCAB-6B05-459F-A95C-E7F3565BBCC2}" type="presParOf" srcId="{FC5F1E3A-5F4C-4B84-A31F-4B589972F703}" destId="{1D4AF22D-2F7A-44CF-A74F-DCE9D3876DE2}" srcOrd="7" destOrd="0" presId="urn:microsoft.com/office/officeart/2005/8/layout/process1"/>
    <dgm:cxn modelId="{D22B8FE6-B071-47F2-8E9E-FF91A363C38B}" type="presParOf" srcId="{1D4AF22D-2F7A-44CF-A74F-DCE9D3876DE2}" destId="{C1090445-5526-4B67-96CB-8D1A953CA6D1}" srcOrd="0" destOrd="0" presId="urn:microsoft.com/office/officeart/2005/8/layout/process1"/>
    <dgm:cxn modelId="{3C206A99-7684-4424-B909-A30B4B94ADB7}" type="presParOf" srcId="{FC5F1E3A-5F4C-4B84-A31F-4B589972F703}" destId="{2B18EB33-F024-47FE-A715-52903286E518}" srcOrd="8" destOrd="0" presId="urn:microsoft.com/office/officeart/2005/8/layout/process1"/>
    <dgm:cxn modelId="{6A2BD82E-009F-418E-B78D-3F43D35567D9}" type="presParOf" srcId="{FC5F1E3A-5F4C-4B84-A31F-4B589972F703}" destId="{8BAB906F-28EB-4420-919C-17B4712A0C4F}" srcOrd="9" destOrd="0" presId="urn:microsoft.com/office/officeart/2005/8/layout/process1"/>
    <dgm:cxn modelId="{B018EE40-F939-459C-BE4C-5D1EC4216FF5}" type="presParOf" srcId="{8BAB906F-28EB-4420-919C-17B4712A0C4F}" destId="{47B8102E-D7CF-438A-81C3-ECCC80329D1E}" srcOrd="0" destOrd="0" presId="urn:microsoft.com/office/officeart/2005/8/layout/process1"/>
    <dgm:cxn modelId="{75E21E1A-D085-4F85-8699-BFA59476C9D5}" type="presParOf" srcId="{FC5F1E3A-5F4C-4B84-A31F-4B589972F703}" destId="{34D5C79A-98E0-4988-B90A-6400745CC9E0}" srcOrd="10" destOrd="0" presId="urn:microsoft.com/office/officeart/2005/8/layout/process1"/>
    <dgm:cxn modelId="{509B8E0D-E301-47B7-AD07-0141A2FB42E0}" type="presParOf" srcId="{FC5F1E3A-5F4C-4B84-A31F-4B589972F703}" destId="{3C228663-F9D3-4A98-9AD8-151444216910}" srcOrd="11" destOrd="0" presId="urn:microsoft.com/office/officeart/2005/8/layout/process1"/>
    <dgm:cxn modelId="{20F94AB1-9EE9-498A-A3CF-68C54F2C3A34}" type="presParOf" srcId="{3C228663-F9D3-4A98-9AD8-151444216910}" destId="{3EA57340-FB9C-473D-AD8B-224A3D17EDDA}" srcOrd="0" destOrd="0" presId="urn:microsoft.com/office/officeart/2005/8/layout/process1"/>
    <dgm:cxn modelId="{E4952E7C-00A7-4475-A4FE-1B86D5EA29F0}" type="presParOf" srcId="{FC5F1E3A-5F4C-4B84-A31F-4B589972F703}" destId="{171052BF-4743-4E8F-822B-14E1956A3F35}" srcOrd="12"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62E42-1621-4AE8-8246-51E793A4F022}">
      <dsp:nvSpPr>
        <dsp:cNvPr id="0" name=""/>
        <dsp:cNvSpPr/>
      </dsp:nvSpPr>
      <dsp:spPr>
        <a:xfrm>
          <a:off x="4184" y="608894"/>
          <a:ext cx="838138" cy="536505"/>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String-</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Index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endParaRPr>
        </a:p>
      </dsp:txBody>
      <dsp:txXfrm>
        <a:off x="126926" y="687463"/>
        <a:ext cx="592654" cy="379367"/>
      </dsp:txXfrm>
    </dsp:sp>
    <dsp:sp modelId="{3C7DFE3E-EA08-433E-AE19-7F7BF869E7DC}">
      <dsp:nvSpPr>
        <dsp:cNvPr id="0" name=""/>
        <dsp:cNvSpPr/>
      </dsp:nvSpPr>
      <dsp:spPr>
        <a:xfrm>
          <a:off x="938601"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938601" y="834555"/>
        <a:ext cx="84953" cy="85182"/>
      </dsp:txXfrm>
    </dsp:sp>
    <dsp:sp modelId="{9777338B-80E0-48DC-9CC7-65EB2151EE7F}">
      <dsp:nvSpPr>
        <dsp:cNvPr id="0" name=""/>
        <dsp:cNvSpPr/>
      </dsp:nvSpPr>
      <dsp:spPr>
        <a:xfrm>
          <a:off x="1147099" y="635033"/>
          <a:ext cx="838138" cy="484227"/>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Word2Vec</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1269841" y="705946"/>
        <a:ext cx="592654" cy="342401"/>
      </dsp:txXfrm>
    </dsp:sp>
    <dsp:sp modelId="{1A29F931-D03A-4D43-B47D-0F2B80FA61A2}">
      <dsp:nvSpPr>
        <dsp:cNvPr id="0" name=""/>
        <dsp:cNvSpPr/>
      </dsp:nvSpPr>
      <dsp:spPr>
        <a:xfrm rot="84935">
          <a:off x="2081211" y="820384"/>
          <a:ext cx="121037"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2081217" y="848329"/>
        <a:ext cx="84726" cy="85182"/>
      </dsp:txXfrm>
    </dsp:sp>
    <dsp:sp modelId="{9494A1CD-050E-47A2-8F7A-C014F6ECA408}">
      <dsp:nvSpPr>
        <dsp:cNvPr id="0" name=""/>
        <dsp:cNvSpPr/>
      </dsp:nvSpPr>
      <dsp:spPr>
        <a:xfrm>
          <a:off x="2289106" y="650575"/>
          <a:ext cx="838138" cy="509584"/>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2411848" y="725202"/>
        <a:ext cx="592654" cy="360330"/>
      </dsp:txXfrm>
    </dsp:sp>
    <dsp:sp modelId="{C598771D-F71C-4B4E-B3E6-9EC96FCC6D4C}">
      <dsp:nvSpPr>
        <dsp:cNvPr id="0" name=""/>
        <dsp:cNvSpPr/>
      </dsp:nvSpPr>
      <dsp:spPr>
        <a:xfrm rot="21515199">
          <a:off x="3223792" y="820158"/>
          <a:ext cx="121761"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3223798" y="849002"/>
        <a:ext cx="85233" cy="85182"/>
      </dsp:txXfrm>
    </dsp:sp>
    <dsp:sp modelId="{C2B3BB8A-DC2E-4D41-9DDC-54D90F731BEC}">
      <dsp:nvSpPr>
        <dsp:cNvPr id="0" name=""/>
        <dsp:cNvSpPr/>
      </dsp:nvSpPr>
      <dsp:spPr>
        <a:xfrm>
          <a:off x="3432930"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3555672" y="708020"/>
        <a:ext cx="592654" cy="338253"/>
      </dsp:txXfrm>
    </dsp:sp>
    <dsp:sp modelId="{1D4AF22D-2F7A-44CF-A74F-DCE9D3876DE2}">
      <dsp:nvSpPr>
        <dsp:cNvPr id="0" name=""/>
        <dsp:cNvSpPr/>
      </dsp:nvSpPr>
      <dsp:spPr>
        <a:xfrm>
          <a:off x="4367348"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4367348" y="834555"/>
        <a:ext cx="84953" cy="85182"/>
      </dsp:txXfrm>
    </dsp:sp>
    <dsp:sp modelId="{2B18EB33-F024-47FE-A715-52903286E518}">
      <dsp:nvSpPr>
        <dsp:cNvPr id="0" name=""/>
        <dsp:cNvSpPr/>
      </dsp:nvSpPr>
      <dsp:spPr>
        <a:xfrm>
          <a:off x="4575846"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Standard-</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rPr>
            <a:t>Sca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4698588" y="708020"/>
        <a:ext cx="592654" cy="338253"/>
      </dsp:txXfrm>
    </dsp:sp>
    <dsp:sp modelId="{8BAB906F-28EB-4420-919C-17B4712A0C4F}">
      <dsp:nvSpPr>
        <dsp:cNvPr id="0" name=""/>
        <dsp:cNvSpPr/>
      </dsp:nvSpPr>
      <dsp:spPr>
        <a:xfrm>
          <a:off x="5510263"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5510263" y="834555"/>
        <a:ext cx="84953" cy="85182"/>
      </dsp:txXfrm>
    </dsp:sp>
    <dsp:sp modelId="{34D5C79A-98E0-4988-B90A-6400745CC9E0}">
      <dsp:nvSpPr>
        <dsp:cNvPr id="0" name=""/>
        <dsp:cNvSpPr/>
      </dsp:nvSpPr>
      <dsp:spPr>
        <a:xfrm>
          <a:off x="5718761"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5841503" y="708020"/>
        <a:ext cx="592654" cy="338253"/>
      </dsp:txXfrm>
    </dsp:sp>
    <dsp:sp modelId="{3C228663-F9D3-4A98-9AD8-151444216910}">
      <dsp:nvSpPr>
        <dsp:cNvPr id="0" name=""/>
        <dsp:cNvSpPr/>
      </dsp:nvSpPr>
      <dsp:spPr>
        <a:xfrm>
          <a:off x="6653179"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6653179" y="834555"/>
        <a:ext cx="84953" cy="85182"/>
      </dsp:txXfrm>
    </dsp:sp>
    <dsp:sp modelId="{171052BF-4743-4E8F-822B-14E1956A3F35}">
      <dsp:nvSpPr>
        <dsp:cNvPr id="0" name=""/>
        <dsp:cNvSpPr/>
      </dsp:nvSpPr>
      <dsp:spPr>
        <a:xfrm>
          <a:off x="6861677"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Model</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6984419" y="708020"/>
        <a:ext cx="592654" cy="3382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62E42-1621-4AE8-8246-51E793A4F022}">
      <dsp:nvSpPr>
        <dsp:cNvPr id="0" name=""/>
        <dsp:cNvSpPr/>
      </dsp:nvSpPr>
      <dsp:spPr>
        <a:xfrm>
          <a:off x="4184" y="608894"/>
          <a:ext cx="838138" cy="536505"/>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String-</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Index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endParaRPr>
        </a:p>
      </dsp:txBody>
      <dsp:txXfrm>
        <a:off x="126926" y="687463"/>
        <a:ext cx="592654" cy="379367"/>
      </dsp:txXfrm>
    </dsp:sp>
    <dsp:sp modelId="{3C7DFE3E-EA08-433E-AE19-7F7BF869E7DC}">
      <dsp:nvSpPr>
        <dsp:cNvPr id="0" name=""/>
        <dsp:cNvSpPr/>
      </dsp:nvSpPr>
      <dsp:spPr>
        <a:xfrm>
          <a:off x="938601"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938601" y="834555"/>
        <a:ext cx="84953" cy="85182"/>
      </dsp:txXfrm>
    </dsp:sp>
    <dsp:sp modelId="{9777338B-80E0-48DC-9CC7-65EB2151EE7F}">
      <dsp:nvSpPr>
        <dsp:cNvPr id="0" name=""/>
        <dsp:cNvSpPr/>
      </dsp:nvSpPr>
      <dsp:spPr>
        <a:xfrm>
          <a:off x="1147099" y="635033"/>
          <a:ext cx="838138" cy="484227"/>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Word2Vec</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1269841" y="705946"/>
        <a:ext cx="592654" cy="342401"/>
      </dsp:txXfrm>
    </dsp:sp>
    <dsp:sp modelId="{1A29F931-D03A-4D43-B47D-0F2B80FA61A2}">
      <dsp:nvSpPr>
        <dsp:cNvPr id="0" name=""/>
        <dsp:cNvSpPr/>
      </dsp:nvSpPr>
      <dsp:spPr>
        <a:xfrm rot="84935">
          <a:off x="2081211" y="820384"/>
          <a:ext cx="121037"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2081217" y="848329"/>
        <a:ext cx="84726" cy="85182"/>
      </dsp:txXfrm>
    </dsp:sp>
    <dsp:sp modelId="{9494A1CD-050E-47A2-8F7A-C014F6ECA408}">
      <dsp:nvSpPr>
        <dsp:cNvPr id="0" name=""/>
        <dsp:cNvSpPr/>
      </dsp:nvSpPr>
      <dsp:spPr>
        <a:xfrm>
          <a:off x="2289106" y="650575"/>
          <a:ext cx="838138" cy="509584"/>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2411848" y="725202"/>
        <a:ext cx="592654" cy="360330"/>
      </dsp:txXfrm>
    </dsp:sp>
    <dsp:sp modelId="{C598771D-F71C-4B4E-B3E6-9EC96FCC6D4C}">
      <dsp:nvSpPr>
        <dsp:cNvPr id="0" name=""/>
        <dsp:cNvSpPr/>
      </dsp:nvSpPr>
      <dsp:spPr>
        <a:xfrm rot="21515199">
          <a:off x="3223792" y="820158"/>
          <a:ext cx="121761"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3223798" y="849002"/>
        <a:ext cx="85233" cy="85182"/>
      </dsp:txXfrm>
    </dsp:sp>
    <dsp:sp modelId="{C2B3BB8A-DC2E-4D41-9DDC-54D90F731BEC}">
      <dsp:nvSpPr>
        <dsp:cNvPr id="0" name=""/>
        <dsp:cNvSpPr/>
      </dsp:nvSpPr>
      <dsp:spPr>
        <a:xfrm>
          <a:off x="3432930"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sym typeface="Lexend Deca"/>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3555672" y="708020"/>
        <a:ext cx="592654" cy="338253"/>
      </dsp:txXfrm>
    </dsp:sp>
    <dsp:sp modelId="{1D4AF22D-2F7A-44CF-A74F-DCE9D3876DE2}">
      <dsp:nvSpPr>
        <dsp:cNvPr id="0" name=""/>
        <dsp:cNvSpPr/>
      </dsp:nvSpPr>
      <dsp:spPr>
        <a:xfrm>
          <a:off x="4367348"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4367348" y="834555"/>
        <a:ext cx="84953" cy="85182"/>
      </dsp:txXfrm>
    </dsp:sp>
    <dsp:sp modelId="{2B18EB33-F024-47FE-A715-52903286E518}">
      <dsp:nvSpPr>
        <dsp:cNvPr id="0" name=""/>
        <dsp:cNvSpPr/>
      </dsp:nvSpPr>
      <dsp:spPr>
        <a:xfrm>
          <a:off x="4575846"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Standard-</a:t>
          </a:r>
          <a:r>
            <a:rPr lang="nl-NL" sz="800" b="1" i="0" u="none" strike="noStrike" kern="1200" cap="none" err="1">
              <a:solidFill>
                <a:srgbClr val="0A1D3D"/>
              </a:solidFill>
              <a:latin typeface="Tahoma" panose="020B0604030504040204" pitchFamily="34" charset="0"/>
              <a:ea typeface="Tahoma" panose="020B0604030504040204" pitchFamily="34" charset="0"/>
              <a:cs typeface="Tahoma" panose="020B0604030504040204" pitchFamily="34" charset="0"/>
            </a:rPr>
            <a:t>Sca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4698588" y="708020"/>
        <a:ext cx="592654" cy="338253"/>
      </dsp:txXfrm>
    </dsp:sp>
    <dsp:sp modelId="{8BAB906F-28EB-4420-919C-17B4712A0C4F}">
      <dsp:nvSpPr>
        <dsp:cNvPr id="0" name=""/>
        <dsp:cNvSpPr/>
      </dsp:nvSpPr>
      <dsp:spPr>
        <a:xfrm>
          <a:off x="5510263"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5510263" y="834555"/>
        <a:ext cx="84953" cy="85182"/>
      </dsp:txXfrm>
    </dsp:sp>
    <dsp:sp modelId="{34D5C79A-98E0-4988-B90A-6400745CC9E0}">
      <dsp:nvSpPr>
        <dsp:cNvPr id="0" name=""/>
        <dsp:cNvSpPr/>
      </dsp:nvSpPr>
      <dsp:spPr>
        <a:xfrm>
          <a:off x="5718761"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Vector-Assembler</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5841503" y="708020"/>
        <a:ext cx="592654" cy="338253"/>
      </dsp:txXfrm>
    </dsp:sp>
    <dsp:sp modelId="{3C228663-F9D3-4A98-9AD8-151444216910}">
      <dsp:nvSpPr>
        <dsp:cNvPr id="0" name=""/>
        <dsp:cNvSpPr/>
      </dsp:nvSpPr>
      <dsp:spPr>
        <a:xfrm>
          <a:off x="6653179" y="806161"/>
          <a:ext cx="121362" cy="14197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nl-BE" sz="600" kern="1200"/>
        </a:p>
      </dsp:txBody>
      <dsp:txXfrm>
        <a:off x="6653179" y="834555"/>
        <a:ext cx="84953" cy="85182"/>
      </dsp:txXfrm>
    </dsp:sp>
    <dsp:sp modelId="{171052BF-4743-4E8F-822B-14E1956A3F35}">
      <dsp:nvSpPr>
        <dsp:cNvPr id="0" name=""/>
        <dsp:cNvSpPr/>
      </dsp:nvSpPr>
      <dsp:spPr>
        <a:xfrm>
          <a:off x="6861677" y="637966"/>
          <a:ext cx="838138" cy="478361"/>
        </a:xfrm>
        <a:prstGeom prst="ellipse">
          <a:avLst/>
        </a:prstGeom>
        <a:noFill/>
        <a:ln w="25400" cap="flat" cmpd="sng" algn="ctr">
          <a:solidFill>
            <a:schemeClr val="tx1"/>
          </a:solidFill>
          <a:prstDash val="solid"/>
          <a:extLst>
            <a:ext uri="{C807C97D-BFC1-408E-A445-0C87EB9F89A2}">
              <ask:lineSketchStyleProps xmlns:ask="http://schemas.microsoft.com/office/drawing/2018/sketchyshapes">
                <ask:type>
                  <ask:lineSketchCurved/>
                </ask:type>
              </ask:lineSketchStyleProps>
            </a:ext>
          </a:extLst>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l-NL"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rPr>
            <a:t>Model</a:t>
          </a:r>
          <a:endParaRPr lang="nl-BE" sz="800" b="1" i="0" u="none" strike="noStrike" kern="1200" cap="none">
            <a:solidFill>
              <a:srgbClr val="0A1D3D"/>
            </a:solidFill>
            <a:latin typeface="Tahoma" panose="020B0604030504040204" pitchFamily="34" charset="0"/>
            <a:ea typeface="Tahoma" panose="020B0604030504040204" pitchFamily="34" charset="0"/>
            <a:cs typeface="Tahoma" panose="020B0604030504040204" pitchFamily="34" charset="0"/>
          </a:endParaRPr>
        </a:p>
      </dsp:txBody>
      <dsp:txXfrm>
        <a:off x="6984419" y="708020"/>
        <a:ext cx="592654" cy="33825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6F83DCD-F406-1A4E-D95A-C71D296394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F9CBF2B-4579-A335-65EF-5E7E00DBD8C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0E6F19-3EAE-4C5A-B802-6F737CA23D86}" type="datetimeFigureOut">
              <a:rPr lang="en-GB" smtClean="0"/>
              <a:t>20/12/2023</a:t>
            </a:fld>
            <a:endParaRPr lang="en-GB"/>
          </a:p>
        </p:txBody>
      </p:sp>
      <p:sp>
        <p:nvSpPr>
          <p:cNvPr id="4" name="Footer Placeholder 3">
            <a:extLst>
              <a:ext uri="{FF2B5EF4-FFF2-40B4-BE49-F238E27FC236}">
                <a16:creationId xmlns:a16="http://schemas.microsoft.com/office/drawing/2014/main" id="{B54C782E-A2EA-ADCF-83F1-2429A0FB60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F7E03424-7199-5713-C749-EC32664C8E5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5C11888-D6A4-4BC5-ADD7-68093C9157C3}" type="slidenum">
              <a:rPr lang="en-GB" smtClean="0"/>
              <a:t>‹#›</a:t>
            </a:fld>
            <a:endParaRPr lang="en-GB"/>
          </a:p>
        </p:txBody>
      </p:sp>
    </p:spTree>
    <p:extLst>
      <p:ext uri="{BB962C8B-B14F-4D97-AF65-F5344CB8AC3E}">
        <p14:creationId xmlns:p14="http://schemas.microsoft.com/office/powerpoint/2010/main" val="38058754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7:22.053"/>
    </inkml:context>
    <inkml:brush xml:id="br0">
      <inkml:brushProperty name="width" value="0.35" units="cm"/>
      <inkml:brushProperty name="height" value="0.35" units="cm"/>
      <inkml:brushProperty name="color" value="#FFFFFF"/>
    </inkml:brush>
  </inkml:definitions>
  <inkml:trace contextRef="#ctx0" brushRef="#br0">154 243 24575,'-53'7'0,"50"-6"0,0 0 0,1-1 0,-1 1 0,0 0 0,0 0 0,0 0 0,1 1 0,-1-1 0,0 1 0,1 0 0,0-1 0,-1 1 0,1 0 0,0 0 0,-2 3 0,66-30 0,-35 9 0,-1-2 0,-1-1 0,0-2 0,-2 0 0,0-1 0,23-29 0,-1 2 0,-18 21 0,-23 23 0,-15 17 0,1 0 0,-16 15 0,-1 1 0,-39 54 0,-18 37 0,7-19 0,48-66 0,12-18 0,13-15 0,8-11 0,10-9 0,1 1 0,0 1 0,21-18 0,-20 21 0,-1-1 0,-1-1 0,0 0 0,13-21 0,23-29 0,-19 29 0,-31 37 0,0 0 0,0 0 0,0 0 0,0 0 0,1 0 0,-1 0 0,0 0 0,0 0 0,0 0 0,0 0 0,0 0 0,1 0 0,-1 0 0,0-1 0,0 1 0,0 0 0,0 0 0,0 0 0,0 0 0,1 0 0,-1 0 0,0 0 0,0 0 0,0-1 0,0 1 0,0 0 0,0 0 0,0 0 0,0 0 0,0 0 0,0-1 0,0 1 0,0 0 0,0 0 0,0 0 0,0 0 0,0 0 0,0-1 0,0 1 0,0 0 0,0 0 0,0 0 0,0 0 0,0 0 0,0-1 0,0 1 0,0 0 0,0 0 0,0 0 0,0 0 0,0 0 0,0-1 0,0 1 0,-1 0 0,1 0 0,0 0 0,0 0 0,0 0 0,0 0 0,0 0 0,0 0 0,-1 0 0,1-1 0,0 1 0,0 0 0,0 0 0,0 0 0,0 0 0,-1 0 0,-14 7 0,-19 15 0,-42 36 0,54-43 0,1 1 0,-26 25 0,38-33-227,-1 0-1,1 0 1,-1-1-1,-1 0 1,-15 7-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0.730"/>
    </inkml:context>
    <inkml:brush xml:id="br0">
      <inkml:brushProperty name="width" value="0.35" units="cm"/>
      <inkml:brushProperty name="height" value="0.35" units="cm"/>
      <inkml:brushProperty name="color" value="#FFFFFF"/>
    </inkml:brush>
  </inkml:definitions>
  <inkml:trace contextRef="#ctx0" brushRef="#br0">1 0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1.114"/>
    </inkml:context>
    <inkml:brush xml:id="br0">
      <inkml:brushProperty name="width" value="0.35" units="cm"/>
      <inkml:brushProperty name="height" value="0.35" units="cm"/>
      <inkml:brushProperty name="color" value="#FFFFFF"/>
    </inkml:brush>
  </inkml:definitions>
  <inkml:trace contextRef="#ctx0" brushRef="#br0">1 0 2457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1.566"/>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2.091"/>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2.646"/>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23.224"/>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7:24.503"/>
    </inkml:context>
    <inkml:brush xml:id="br0">
      <inkml:brushProperty name="width" value="0.35" units="cm"/>
      <inkml:brushProperty name="height" value="0.35" units="cm"/>
      <inkml:brushProperty name="color" value="#FFFFFF"/>
    </inkml:brush>
  </inkml:definitions>
  <inkml:trace contextRef="#ctx0" brushRef="#br0">0 21 24575,'8'0'0,"1"-7"0,0-6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7:26.160"/>
    </inkml:context>
    <inkml:brush xml:id="br0">
      <inkml:brushProperty name="width" value="0.35" units="cm"/>
      <inkml:brushProperty name="height" value="0.35" units="cm"/>
      <inkml:brushProperty name="color" value="#FFFFFF"/>
    </inkml:brush>
  </inkml:definitions>
  <inkml:trace contextRef="#ctx0" brushRef="#br0">8 1 24575,'0'3'0,"0"9"0,0 6 0,0 6 0,-7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8:08.153"/>
    </inkml:context>
    <inkml:brush xml:id="br0">
      <inkml:brushProperty name="width" value="0.35" units="cm"/>
      <inkml:brushProperty name="height" value="0.35" units="cm"/>
      <inkml:brushProperty name="color" value="#FFFFFF"/>
    </inkml:brush>
  </inkml:definitions>
  <inkml:trace contextRef="#ctx0" brushRef="#br0">1 0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8:12.728"/>
    </inkml:context>
    <inkml:brush xml:id="br0">
      <inkml:brushProperty name="width" value="0.35" units="cm"/>
      <inkml:brushProperty name="height" value="0.35" units="cm"/>
      <inkml:brushProperty name="color" value="#FFFFFF"/>
    </inkml:brush>
  </inkml:definitions>
  <inkml:trace contextRef="#ctx0" brushRef="#br0">210 711 24575,'-2'17'0,"0"0"0,0 0 0,-2 0 0,0 0 0,-1-1 0,0 0 0,-2 0 0,0 0 0,-1-1 0,0 1 0,-1-2 0,-1 0 0,0 0 0,-1 0 0,0-1 0,-19 15 0,4 7 0,22-29 0,12-25 0,75-138 0,-70 139 0,1-1 0,0 2 0,25-24 0,-21 23 0,-1-1 0,22-31 0,-32 41 0,1 0 0,0 0 0,0 1 0,1 0 0,14-10 0,-14 11 0,0 0 0,0-1 0,-1 1 0,0-2 0,-1 1 0,7-11 0,-2 3 0,-9 13 0,0 0 0,-1-1 0,1 1 0,0-1 0,-1 0 0,0 0 0,0 0 0,0 0 0,0 0 0,-1 0 0,0-1 0,0 1 0,0-1 0,1-6 0,-3 10 0,0 1 0,1-1 0,-1 0 0,1 1 0,-1-1 0,0 1 0,1-1 0,-1 1 0,0 0 0,0-1 0,0 1 0,1 0 0,-1 0 0,0-1 0,0 1 0,0 0 0,1 0 0,-1 0 0,0 0 0,0 0 0,0 0 0,0 0 0,1 0 0,-1 0 0,0 0 0,0 1 0,0-1 0,1 0 0,-1 1 0,0-1 0,0 0 0,1 1 0,-1-1 0,0 1 0,1-1 0,-2 2 0,-34 18 0,32-17 0,-157 92 0,160-97 0,6-6 0,13-15 0,-14 17 0,28-37 0,-3-1 0,-2-1 0,41-91 0,-41 60 0,-27 76 0,0-1 0,0 1 0,0-1 0,0 1 0,1 0 0,-1-1 0,0 1 0,0-1 0,0 1 0,0-1 0,0 1 0,0-1 0,0 1 0,0-1 0,-1 1 0,1 0 0,0-1 0,0 1 0,0-1 0,0 1 0,-1-1 0,1 1 0,0 0 0,0-1 0,-1 1 0,1-1 0,0 1 0,-1 0 0,1 0 0,0-1 0,-1 1 0,1 0 0,-1-1 0,1 1 0,-21-3 0,-21 9 0,24 2 0,0 0 0,1 1 0,0 0 0,0 2 0,1 0 0,1 0 0,0 2 0,0 0 0,1 1 0,-17 21 0,30-34 0,1-1 0,-1 1 0,0-1 0,1 1 0,-1-1 0,1 1 0,-1-1 0,1 1 0,-1-1 0,1 1 0,0 0 0,-1-1 0,1 1 0,0 0 0,-1-1 0,1 1 0,0 0 0,0 0 0,0-1 0,0 1 0,0 0 0,0 0 0,0-1 0,0 1 0,0 0 0,0 0 0,0-1 0,0 1 0,0 0 0,0 0 0,1-1 0,-1 1 0,0 0 0,1-1 0,-1 1 0,0 0 0,1-1 0,-1 1 0,1-1 0,-1 1 0,1-1 0,-1 1 0,1-1 0,-1 1 0,1-1 0,0 1 0,-1-1 0,1 0 0,0 1 0,-1-1 0,1 0 0,0 0 0,0 1 0,-1-1 0,1 0 0,0 0 0,-1 0 0,1 0 0,0 0 0,0 0 0,-1 0 0,1 0 0,1 0 0,5 0 0,-1 0 0,0 0 0,1 0 0,-1-1 0,1 0 0,7-2 0,-3-2 0,0 0 0,0 0 0,-1-1 0,0-1 0,0 1 0,0-2 0,12-12 0,59-67 0,-62 65 0,1-3 0,25-42 0,-28 40 0,30-38 0,-48 86 0,-9 28 0,5-24 0,-16 40 0,17-57 0,0 0 0,1 1 0,0 0 0,0 0 0,1 0 0,0 0 0,1 0 0,0 0 0,0 0 0,2 14 0,-2-23 0,1 1 0,0 0 0,0-1 0,0 1 0,0-1 0,0 1 0,1 0 0,-1-1 0,0 1 0,0 0 0,0-1 0,0 1 0,1-1 0,-1 1 0,0-1 0,0 1 0,1-1 0,-1 1 0,1-1 0,-1 1 0,0-1 0,1 1 0,-1-1 0,1 1 0,-1-1 0,1 0 0,-1 1 0,1-1 0,-1 0 0,1 0 0,0 1 0,-1-1 0,1 0 0,-1 0 0,1 0 0,0 0 0,-1 0 0,2 0 0,-1 0 0,1-1 0,0 0 0,0 0 0,0-1 0,-1 1 0,1 0 0,0-1 0,-1 1 0,0 0 0,1-1 0,1-2 0,31-51 0,8-59 0,-33 69 0,-9 44 0,0 0 0,0 0 0,0 0 0,0 0 0,0 0 0,0 0 0,0 0 0,0 0 0,0 0 0,-1 0 0,1 0 0,0 1 0,-1-1 0,1 0 0,-1 0 0,1 0 0,-1 0 0,0 0 0,0 1 0,1-1 0,-1 1 0,0 0 0,0 0 0,0 0 0,0 0 0,1 0 0,-1 0 0,0 0 0,0 0 0,0 0 0,1 0 0,-1 1 0,0-1 0,0 0 0,1 0 0,-1 1 0,0-1 0,0 1 0,1-1 0,-1 1 0,0-1 0,1 1 0,-1-1 0,1 1 0,-2 0 0,-7 9 0,1 0 0,0 0 0,0 1 0,1 0 0,0 0 0,1 1 0,1-1 0,-6 15 0,-8 16 0,-5 3 0,3 0 0,-21 66 0,28-76 0,-1-1 0,-2-1 0,-1-1 0,-1 0 0,-41 51 0,37-53 0,6-7 0,1 1 0,0 0 0,2 1 0,-18 43 0,31-67 0,1 0 0,-1 0 0,1 0 0,-1 0 0,1 0 0,0 0 0,-1 0 0,1 0 0,0 0 0,0 0 0,0 0 0,0 0 0,0 0 0,0 0 0,0 0 0,0 1 0,0-1 0,0 0 0,1 0 0,-1 0 0,0 0 0,1 0 0,-1 0 0,1 0 0,-1-1 0,1 3 0,1-3 0,-1 0 0,0 1 0,0-1 0,1 0 0,-1 0 0,0 0 0,0 0 0,1 0 0,-1 0 0,0 0 0,0 0 0,1 0 0,-1 0 0,0-1 0,0 1 0,0-1 0,1 1 0,0-1 0,54-32 0,-45 25 0,0-1 0,-1-1 0,-1 0 0,1 0 0,-2-1 0,1 0 0,11-21 0,-2-4 0,19-49 0,-106 130 0,48-26 0,2 1 0,0 1 0,-23 32 0,22-27 0,-1-1 0,-24 23 0,30-32 23,0 1 1,2 1-1,0 0 0,-16 29 0,-18 27-1504</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9:30.649"/>
    </inkml:context>
    <inkml:brush xml:id="br0">
      <inkml:brushProperty name="width" value="0.35" units="cm"/>
      <inkml:brushProperty name="height" value="0.35" units="cm"/>
      <inkml:brushProperty name="color" value="#FFFFFF"/>
    </inkml:brush>
  </inkml:definitions>
  <inkml:trace contextRef="#ctx0" brushRef="#br0">138 1179 24575,'-3'-2'0,"0"-1"0,0 1 0,0-1 0,1 0 0,-1 0 0,1 0 0,0 0 0,0 0 0,0 0 0,0-1 0,0 1 0,1-1 0,-2-4 0,-5-8 0,-5-7 0,1-1 0,2 1 0,0-2 0,-11-46 0,5 18 0,12 43 0,1 0 0,1-1 0,0 1 0,0 0 0,1-1 0,1 1 0,-1-1 0,2 1 0,-1-1 0,2 1 0,2-13 0,-2 15 0,1 0 0,0 0 0,1 1 0,0-1 0,0 1 0,0-1 0,1 2 0,0-1 0,1 0 0,-1 1 0,1 0 0,1 0 0,-1 1 0,9-6 0,51-33 0,44-32 0,-99 67 0,0-1 0,0 0 0,-1-1 0,0 0 0,-1 0 0,13-22 0,-21 32 0,0 0 0,-1 0 0,1 0 0,0 0 0,-1 0 0,1 0 0,-1 0 0,1 0 0,-1 0 0,1 0 0,-1 0 0,0 0 0,1 0 0,-1-1 0,0 1 0,0 0 0,0 0 0,0 0 0,0 0 0,0-1 0,0 1 0,-1-2 0,0 3 0,0 0 0,0 0 0,0 0 0,0 0 0,0 0 0,0 0 0,0 0 0,0 0 0,0 0 0,0 1 0,0-1 0,0 0 0,0 1 0,0-1 0,0 1 0,0-1 0,0 1 0,-1 0 0,-49 36 0,-88 100 0,81-76 0,4-10 0,74-64 0,-5 4 0,0-1 0,20-17 0,81-104 0,-59 64 0,119-137 0,-141 159 0,-1-1 0,28-53 0,-41 49-136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39:31.764"/>
    </inkml:context>
    <inkml:brush xml:id="br0">
      <inkml:brushProperty name="width" value="0.35" units="cm"/>
      <inkml:brushProperty name="height" value="0.35" units="cm"/>
      <inkml:brushProperty name="color" value="#FFFFFF"/>
    </inkml:brush>
  </inkml:definitions>
  <inkml:trace contextRef="#ctx0" brushRef="#br0">0 261 24575,'2'-5'0,"0"0"0,0 0 0,0 0 0,1 1 0,0-1 0,-1 1 0,2-1 0,-1 1 0,0 0 0,1 1 0,0-1 0,8-6 0,11-13 0,-11 4 0,0-1 0,-2 0 0,-1 0 0,0-1 0,10-38 0,-19 44 0,-9 20 0,-13 21 0,-44 110-136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05.739"/>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20T09:40:19.822"/>
    </inkml:context>
    <inkml:brush xml:id="br0">
      <inkml:brushProperty name="width" value="0.35" units="cm"/>
      <inkml:brushProperty name="height" value="0.35" units="cm"/>
      <inkml:brushProperty name="color" value="#FFFFFF"/>
    </inkml:brush>
  </inkml:definitions>
  <inkml:trace contextRef="#ctx0" brushRef="#br0">229 0 24575,'1'1'0,"0"-1"0,0 1 0,0-1 0,0 1 0,-1-1 0,1 1 0,0-1 0,0 1 0,-1 0 0,1-1 0,0 1 0,-1 0 0,1 0 0,0 0 0,-1-1 0,1 1 0,-1 0 0,0 0 0,1 0 0,-1 0 0,0 0 0,1 0 0,-1 0 0,0 0 0,0 0 0,0 0 0,0 1 0,4 37 0,-4-29 0,7 35 0,-4-36 0,-1 0 0,-1 1 0,0-1 0,0 1 0,-1-1 0,0 1 0,0-1 0,-1 1 0,-1-1 0,1 0 0,-5 11 0,-78 222 0,71-199 0,10-32 0,0-1 0,0 1 0,-1 0 0,-1-1 0,0 0 0,-6 10 0,-1-2 0,1 0 0,1 2 0,0-1 0,2 1 0,0 0 0,-6 28 0,-9-2 0,19-42 0,1 1 0,0 0 0,1 0 0,-1 0 0,1 0 0,0 0 0,0 0 0,0 1 0,0 7 0,5-12 0,4-10 0,5-8 0,39-50 0,-40 54 0,1-1 0,-2 0 0,10-18 0,-20 32 0,0 0 0,0 0 0,0 0 0,-1 0 0,1 0 0,0 0 0,0 0 0,0 0 0,0 0 0,0 0 0,-1 0 0,1 0 0,0 0 0,0 0 0,0-1 0,0 1 0,0 0 0,0 0 0,0 0 0,-1 0 0,1 0 0,0 0 0,0 0 0,0-1 0,0 1 0,0 0 0,0 0 0,0 0 0,0 0 0,0 0 0,0-1 0,0 1 0,0 0 0,0 0 0,0 0 0,0 0 0,0 0 0,0-1 0,0 1 0,0 0 0,0 0 0,0 0 0,0 0 0,0 0 0,0-1 0,0 1 0,0 0 0,0 0 0,0 0 0,0 0 0,0 0 0,1 0 0,-1-1 0,0 1 0,0 0 0,0 0 0,0 0 0,-18 13 0,-21 21 0,18-14 0,16-17 0,1 0 0,0 1 0,0 0 0,0 0 0,0 0 0,0 0 0,1 0 0,0 1 0,-4 8 0,7-13 0,0 0 0,0 0 0,1 1 0,-1-1 0,0 0 0,1 0 0,-1 1 0,0-1 0,0 0 0,1 0 0,-1 0 0,1 1 0,-1-1 0,0 0 0,1 0 0,-1 0 0,0 0 0,1 0 0,-1 0 0,1 0 0,-1 0 0,0 0 0,1 0 0,-1 0 0,1 0 0,-1 0 0,0 0 0,1 0 0,-1 0 0,0-1 0,1 1 0,-1 0 0,0 0 0,1 0 0,-1-1 0,0 1 0,1 0 0,-1 0 0,0-1 0,1 1 0,-1 0 0,0-1 0,0 1 0,1-1 0,18-11 0,-1-8 0,-1 0 0,26-45 0,-30 44 0,1 1 0,0 0 0,1 1 0,19-18 0,-9 12 0,-6 7 0,-33 47 0,-51 67 0,31-49 0,33-46 0,0-1 0,1 1 0,-1 0 0,0-1 0,1 1 0,-1 0 0,1 0 0,-1-1 0,1 1 0,-1 0 0,1 0 0,-1 0 0,1 0 0,0 0 0,0 0 0,-1-1 0,1 1 0,0 0 0,0 0 0,0 0 0,0 2 0,17-10 0,25-26 0,110-120-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62"/>
        <p:cNvGrpSpPr/>
        <p:nvPr/>
      </p:nvGrpSpPr>
      <p:grpSpPr>
        <a:xfrm>
          <a:off x="0" y="0"/>
          <a:ext cx="0" cy="0"/>
          <a:chOff x="0" y="0"/>
          <a:chExt cx="0" cy="0"/>
        </a:xfrm>
      </p:grpSpPr>
      <p:sp>
        <p:nvSpPr>
          <p:cNvPr id="3363" name="Google Shape;3363;g21b8e9c55f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64" name="Google Shape;3364;g21b8e9c55f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buNone/>
            </a:pPr>
            <a:endParaRPr lang="nl-NL" dirty="0"/>
          </a:p>
        </p:txBody>
      </p:sp>
    </p:spTree>
    <p:extLst>
      <p:ext uri="{BB962C8B-B14F-4D97-AF65-F5344CB8AC3E}">
        <p14:creationId xmlns:p14="http://schemas.microsoft.com/office/powerpoint/2010/main" val="2527587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buNone/>
            </a:pPr>
            <a:endParaRPr lang="nl-NL" dirty="0"/>
          </a:p>
        </p:txBody>
      </p:sp>
    </p:spTree>
    <p:extLst>
      <p:ext uri="{BB962C8B-B14F-4D97-AF65-F5344CB8AC3E}">
        <p14:creationId xmlns:p14="http://schemas.microsoft.com/office/powerpoint/2010/main" val="2906103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27880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2631794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21649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3"/>
        <p:cNvGrpSpPr/>
        <p:nvPr/>
      </p:nvGrpSpPr>
      <p:grpSpPr>
        <a:xfrm>
          <a:off x="0" y="0"/>
          <a:ext cx="0" cy="0"/>
          <a:chOff x="0" y="0"/>
          <a:chExt cx="0" cy="0"/>
        </a:xfrm>
      </p:grpSpPr>
      <p:sp>
        <p:nvSpPr>
          <p:cNvPr id="3964" name="Google Shape;396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65" name="Google Shape;396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23002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2824330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695659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9732688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1074419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3"/>
        <p:cNvGrpSpPr/>
        <p:nvPr/>
      </p:nvGrpSpPr>
      <p:grpSpPr>
        <a:xfrm>
          <a:off x="0" y="0"/>
          <a:ext cx="0" cy="0"/>
          <a:chOff x="0" y="0"/>
          <a:chExt cx="0" cy="0"/>
        </a:xfrm>
      </p:grpSpPr>
      <p:sp>
        <p:nvSpPr>
          <p:cNvPr id="3964" name="Google Shape;396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65" name="Google Shape;396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920464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24573177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30370587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dirty="0"/>
          </a:p>
        </p:txBody>
      </p:sp>
    </p:spTree>
    <p:extLst>
      <p:ext uri="{BB962C8B-B14F-4D97-AF65-F5344CB8AC3E}">
        <p14:creationId xmlns:p14="http://schemas.microsoft.com/office/powerpoint/2010/main" val="1499367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2377202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BE" b="0" dirty="0"/>
          </a:p>
        </p:txBody>
      </p:sp>
    </p:spTree>
    <p:extLst>
      <p:ext uri="{BB962C8B-B14F-4D97-AF65-F5344CB8AC3E}">
        <p14:creationId xmlns:p14="http://schemas.microsoft.com/office/powerpoint/2010/main" val="23920203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3"/>
        <p:cNvGrpSpPr/>
        <p:nvPr/>
      </p:nvGrpSpPr>
      <p:grpSpPr>
        <a:xfrm>
          <a:off x="0" y="0"/>
          <a:ext cx="0" cy="0"/>
          <a:chOff x="0" y="0"/>
          <a:chExt cx="0" cy="0"/>
        </a:xfrm>
      </p:grpSpPr>
      <p:sp>
        <p:nvSpPr>
          <p:cNvPr id="3964" name="Google Shape;396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65" name="Google Shape;396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18428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651463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a:buNone/>
            </a:pPr>
            <a:endParaRPr lang="en-GB" b="0" i="0" dirty="0">
              <a:solidFill>
                <a:srgbClr val="D1D5DB"/>
              </a:solidFill>
              <a:effectLst/>
              <a:latin typeface="Söhne"/>
            </a:endParaRPr>
          </a:p>
        </p:txBody>
      </p:sp>
    </p:spTree>
    <p:extLst>
      <p:ext uri="{BB962C8B-B14F-4D97-AF65-F5344CB8AC3E}">
        <p14:creationId xmlns:p14="http://schemas.microsoft.com/office/powerpoint/2010/main" val="19129716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884449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11711827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3319029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34233148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a:buNone/>
            </a:pPr>
            <a:endParaRPr lang="en-BE" dirty="0"/>
          </a:p>
        </p:txBody>
      </p:sp>
    </p:spTree>
    <p:extLst>
      <p:ext uri="{BB962C8B-B14F-4D97-AF65-F5344CB8AC3E}">
        <p14:creationId xmlns:p14="http://schemas.microsoft.com/office/powerpoint/2010/main" val="16247418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buNone/>
            </a:pPr>
            <a:endParaRPr lang="nl-BE" dirty="0"/>
          </a:p>
        </p:txBody>
      </p:sp>
    </p:spTree>
    <p:extLst>
      <p:ext uri="{BB962C8B-B14F-4D97-AF65-F5344CB8AC3E}">
        <p14:creationId xmlns:p14="http://schemas.microsoft.com/office/powerpoint/2010/main" val="2450371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30247405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lgn="l">
              <a:buNone/>
            </a:pPr>
            <a:endParaRPr lang="en-US" b="0" i="0" dirty="0">
              <a:solidFill>
                <a:srgbClr val="D1D5DB"/>
              </a:solidFill>
              <a:effectLst/>
              <a:latin typeface="Söhne"/>
            </a:endParaRPr>
          </a:p>
        </p:txBody>
      </p:sp>
    </p:spTree>
    <p:extLst>
      <p:ext uri="{BB962C8B-B14F-4D97-AF65-F5344CB8AC3E}">
        <p14:creationId xmlns:p14="http://schemas.microsoft.com/office/powerpoint/2010/main" val="9605916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lgn="l">
              <a:buNone/>
            </a:pPr>
            <a:endParaRPr lang="en-US" b="0" i="0" dirty="0">
              <a:solidFill>
                <a:srgbClr val="D1D5DB"/>
              </a:solidFill>
              <a:effectLst/>
              <a:latin typeface="Söhne"/>
            </a:endParaRPr>
          </a:p>
        </p:txBody>
      </p:sp>
    </p:spTree>
    <p:extLst>
      <p:ext uri="{BB962C8B-B14F-4D97-AF65-F5344CB8AC3E}">
        <p14:creationId xmlns:p14="http://schemas.microsoft.com/office/powerpoint/2010/main" val="4181553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lgn="l">
              <a:buNone/>
            </a:pPr>
            <a:endParaRPr lang="en-US" b="0" i="0" dirty="0">
              <a:solidFill>
                <a:srgbClr val="D1D5DB"/>
              </a:solidFill>
              <a:effectLst/>
              <a:latin typeface="Söhne"/>
            </a:endParaRPr>
          </a:p>
        </p:txBody>
      </p:sp>
    </p:spTree>
    <p:extLst>
      <p:ext uri="{BB962C8B-B14F-4D97-AF65-F5344CB8AC3E}">
        <p14:creationId xmlns:p14="http://schemas.microsoft.com/office/powerpoint/2010/main" val="242752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158750" indent="0">
              <a:buNone/>
            </a:pPr>
            <a:endParaRPr lang="nl-BE" dirty="0"/>
          </a:p>
        </p:txBody>
      </p:sp>
    </p:spTree>
    <p:extLst>
      <p:ext uri="{BB962C8B-B14F-4D97-AF65-F5344CB8AC3E}">
        <p14:creationId xmlns:p14="http://schemas.microsoft.com/office/powerpoint/2010/main" val="3946999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1174669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4016876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5"/>
        <p:cNvGrpSpPr/>
        <p:nvPr/>
      </p:nvGrpSpPr>
      <p:grpSpPr>
        <a:xfrm>
          <a:off x="0" y="0"/>
          <a:ext cx="0" cy="0"/>
          <a:chOff x="0" y="0"/>
          <a:chExt cx="0" cy="0"/>
        </a:xfrm>
      </p:grpSpPr>
      <p:sp>
        <p:nvSpPr>
          <p:cNvPr id="6616" name="Google Shape;6616;g135e18421cc_13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17" name="Google Shape;6617;g135e18421cc_13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5"/>
        <p:cNvGrpSpPr/>
        <p:nvPr/>
      </p:nvGrpSpPr>
      <p:grpSpPr>
        <a:xfrm>
          <a:off x="0" y="0"/>
          <a:ext cx="0" cy="0"/>
          <a:chOff x="0" y="0"/>
          <a:chExt cx="0" cy="0"/>
        </a:xfrm>
      </p:grpSpPr>
      <p:sp>
        <p:nvSpPr>
          <p:cNvPr id="6616" name="Google Shape;6616;g135e18421cc_13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17" name="Google Shape;6617;g135e18421cc_13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579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930132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a:p>
        </p:txBody>
      </p:sp>
    </p:spTree>
    <p:extLst>
      <p:ext uri="{BB962C8B-B14F-4D97-AF65-F5344CB8AC3E}">
        <p14:creationId xmlns:p14="http://schemas.microsoft.com/office/powerpoint/2010/main" val="695585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a:p>
        </p:txBody>
      </p:sp>
    </p:spTree>
    <p:extLst>
      <p:ext uri="{BB962C8B-B14F-4D97-AF65-F5344CB8AC3E}">
        <p14:creationId xmlns:p14="http://schemas.microsoft.com/office/powerpoint/2010/main" val="2261006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2223986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2812490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3"/>
        <p:cNvGrpSpPr/>
        <p:nvPr/>
      </p:nvGrpSpPr>
      <p:grpSpPr>
        <a:xfrm>
          <a:off x="0" y="0"/>
          <a:ext cx="0" cy="0"/>
          <a:chOff x="0" y="0"/>
          <a:chExt cx="0" cy="0"/>
        </a:xfrm>
      </p:grpSpPr>
      <p:sp>
        <p:nvSpPr>
          <p:cNvPr id="3964" name="Google Shape;396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65" name="Google Shape;396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74532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1482985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GB" dirty="0"/>
          </a:p>
        </p:txBody>
      </p:sp>
    </p:spTree>
    <p:extLst>
      <p:ext uri="{BB962C8B-B14F-4D97-AF65-F5344CB8AC3E}">
        <p14:creationId xmlns:p14="http://schemas.microsoft.com/office/powerpoint/2010/main" val="4055376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FFFFFF"/>
        </a:solidFill>
        <a:effectLst/>
      </p:bgPr>
    </p:bg>
    <p:spTree>
      <p:nvGrpSpPr>
        <p:cNvPr id="1" name="Shape 8"/>
        <p:cNvGrpSpPr/>
        <p:nvPr/>
      </p:nvGrpSpPr>
      <p:grpSpPr>
        <a:xfrm>
          <a:off x="0" y="0"/>
          <a:ext cx="0" cy="0"/>
          <a:chOff x="0" y="0"/>
          <a:chExt cx="0" cy="0"/>
        </a:xfrm>
      </p:grpSpPr>
      <p:pic>
        <p:nvPicPr>
          <p:cNvPr id="9" name="Google Shape;9;p2"/>
          <p:cNvPicPr preferRelativeResize="0"/>
          <p:nvPr/>
        </p:nvPicPr>
        <p:blipFill>
          <a:blip r:embed="rId2">
            <a:alphaModFix amt="58000"/>
          </a:blip>
          <a:stretch>
            <a:fillRect/>
          </a:stretch>
        </p:blipFill>
        <p:spPr>
          <a:xfrm>
            <a:off x="0" y="0"/>
            <a:ext cx="9144003" cy="5143501"/>
          </a:xfrm>
          <a:prstGeom prst="rect">
            <a:avLst/>
          </a:prstGeom>
          <a:noFill/>
          <a:ln>
            <a:noFill/>
          </a:ln>
        </p:spPr>
      </p:pic>
      <p:sp>
        <p:nvSpPr>
          <p:cNvPr id="10" name="Google Shape;10;p2"/>
          <p:cNvSpPr txBox="1">
            <a:spLocks noGrp="1"/>
          </p:cNvSpPr>
          <p:nvPr>
            <p:ph type="ctrTitle"/>
          </p:nvPr>
        </p:nvSpPr>
        <p:spPr>
          <a:xfrm>
            <a:off x="1190700" y="1762600"/>
            <a:ext cx="6762600" cy="1045800"/>
          </a:xfrm>
          <a:prstGeom prst="rect">
            <a:avLst/>
          </a:prstGeom>
        </p:spPr>
        <p:txBody>
          <a:bodyPr spcFirstLastPara="1" wrap="square" lIns="91425" tIns="91425" rIns="91425" bIns="91425" anchor="b" anchorCtr="0">
            <a:noAutofit/>
          </a:bodyPr>
          <a:lstStyle>
            <a:lvl1pPr lvl="0" algn="ctr">
              <a:lnSpc>
                <a:spcPct val="80000"/>
              </a:lnSpc>
              <a:spcBef>
                <a:spcPts val="0"/>
              </a:spcBef>
              <a:spcAft>
                <a:spcPts val="0"/>
              </a:spcAft>
              <a:buClr>
                <a:srgbClr val="191919"/>
              </a:buClr>
              <a:buSzPts val="5200"/>
              <a:buNone/>
              <a:defRPr sz="6000" b="0">
                <a:solidFill>
                  <a:srgbClr val="13394F"/>
                </a:solidFill>
              </a:defRPr>
            </a:lvl1pPr>
            <a:lvl2pPr lvl="1" algn="ctr">
              <a:spcBef>
                <a:spcPts val="0"/>
              </a:spcBef>
              <a:spcAft>
                <a:spcPts val="0"/>
              </a:spcAft>
              <a:buClr>
                <a:srgbClr val="191919"/>
              </a:buClr>
              <a:buSzPts val="5200"/>
              <a:buNone/>
              <a:defRPr sz="5200">
                <a:solidFill>
                  <a:srgbClr val="191919"/>
                </a:solidFill>
              </a:defRPr>
            </a:lvl2pPr>
            <a:lvl3pPr lvl="2" algn="ctr">
              <a:spcBef>
                <a:spcPts val="0"/>
              </a:spcBef>
              <a:spcAft>
                <a:spcPts val="0"/>
              </a:spcAft>
              <a:buClr>
                <a:srgbClr val="191919"/>
              </a:buClr>
              <a:buSzPts val="5200"/>
              <a:buNone/>
              <a:defRPr sz="5200">
                <a:solidFill>
                  <a:srgbClr val="191919"/>
                </a:solidFill>
              </a:defRPr>
            </a:lvl3pPr>
            <a:lvl4pPr lvl="3" algn="ctr">
              <a:spcBef>
                <a:spcPts val="0"/>
              </a:spcBef>
              <a:spcAft>
                <a:spcPts val="0"/>
              </a:spcAft>
              <a:buClr>
                <a:srgbClr val="191919"/>
              </a:buClr>
              <a:buSzPts val="5200"/>
              <a:buNone/>
              <a:defRPr sz="5200">
                <a:solidFill>
                  <a:srgbClr val="191919"/>
                </a:solidFill>
              </a:defRPr>
            </a:lvl4pPr>
            <a:lvl5pPr lvl="4" algn="ctr">
              <a:spcBef>
                <a:spcPts val="0"/>
              </a:spcBef>
              <a:spcAft>
                <a:spcPts val="0"/>
              </a:spcAft>
              <a:buClr>
                <a:srgbClr val="191919"/>
              </a:buClr>
              <a:buSzPts val="5200"/>
              <a:buNone/>
              <a:defRPr sz="5200">
                <a:solidFill>
                  <a:srgbClr val="191919"/>
                </a:solidFill>
              </a:defRPr>
            </a:lvl5pPr>
            <a:lvl6pPr lvl="5" algn="ctr">
              <a:spcBef>
                <a:spcPts val="0"/>
              </a:spcBef>
              <a:spcAft>
                <a:spcPts val="0"/>
              </a:spcAft>
              <a:buClr>
                <a:srgbClr val="191919"/>
              </a:buClr>
              <a:buSzPts val="5200"/>
              <a:buNone/>
              <a:defRPr sz="5200">
                <a:solidFill>
                  <a:srgbClr val="191919"/>
                </a:solidFill>
              </a:defRPr>
            </a:lvl6pPr>
            <a:lvl7pPr lvl="6" algn="ctr">
              <a:spcBef>
                <a:spcPts val="0"/>
              </a:spcBef>
              <a:spcAft>
                <a:spcPts val="0"/>
              </a:spcAft>
              <a:buClr>
                <a:srgbClr val="191919"/>
              </a:buClr>
              <a:buSzPts val="5200"/>
              <a:buNone/>
              <a:defRPr sz="5200">
                <a:solidFill>
                  <a:srgbClr val="191919"/>
                </a:solidFill>
              </a:defRPr>
            </a:lvl7pPr>
            <a:lvl8pPr lvl="7" algn="ctr">
              <a:spcBef>
                <a:spcPts val="0"/>
              </a:spcBef>
              <a:spcAft>
                <a:spcPts val="0"/>
              </a:spcAft>
              <a:buClr>
                <a:srgbClr val="191919"/>
              </a:buClr>
              <a:buSzPts val="5200"/>
              <a:buNone/>
              <a:defRPr sz="5200">
                <a:solidFill>
                  <a:srgbClr val="191919"/>
                </a:solidFill>
              </a:defRPr>
            </a:lvl8pPr>
            <a:lvl9pPr lvl="8" algn="ctr">
              <a:spcBef>
                <a:spcPts val="0"/>
              </a:spcBef>
              <a:spcAft>
                <a:spcPts val="0"/>
              </a:spcAft>
              <a:buClr>
                <a:srgbClr val="191919"/>
              </a:buClr>
              <a:buSzPts val="5200"/>
              <a:buNone/>
              <a:defRPr sz="5200">
                <a:solidFill>
                  <a:srgbClr val="191919"/>
                </a:solidFill>
              </a:defRPr>
            </a:lvl9pPr>
          </a:lstStyle>
          <a:p>
            <a:endParaRPr/>
          </a:p>
        </p:txBody>
      </p:sp>
      <p:sp>
        <p:nvSpPr>
          <p:cNvPr id="11" name="Google Shape;11;p2"/>
          <p:cNvSpPr txBox="1">
            <a:spLocks noGrp="1"/>
          </p:cNvSpPr>
          <p:nvPr>
            <p:ph type="subTitle" idx="1"/>
          </p:nvPr>
        </p:nvSpPr>
        <p:spPr>
          <a:xfrm>
            <a:off x="2307600" y="2905100"/>
            <a:ext cx="4528800" cy="475800"/>
          </a:xfrm>
          <a:prstGeom prst="rect">
            <a:avLst/>
          </a:prstGeom>
          <a:solidFill>
            <a:srgbClr val="FFFFFF">
              <a:alpha val="34590"/>
            </a:srgbClr>
          </a:solidFill>
        </p:spPr>
        <p:txBody>
          <a:bodyPr spcFirstLastPara="1" wrap="square" lIns="91425" tIns="91425" rIns="91425" bIns="91425" anchor="t" anchorCtr="0">
            <a:noAutofit/>
          </a:bodyPr>
          <a:lstStyle>
            <a:lvl1pPr lvl="0" algn="ctr">
              <a:lnSpc>
                <a:spcPct val="100000"/>
              </a:lnSpc>
              <a:spcBef>
                <a:spcPts val="0"/>
              </a:spcBef>
              <a:spcAft>
                <a:spcPts val="0"/>
              </a:spcAft>
              <a:buSzPts val="1400"/>
              <a:buNone/>
              <a:defRPr sz="1600">
                <a:solidFill>
                  <a:srgbClr val="13394F"/>
                </a:solidFill>
                <a:latin typeface="Lexend Deca"/>
                <a:ea typeface="Lexend Deca"/>
                <a:cs typeface="Lexend Deca"/>
                <a:sym typeface="Lexend Deca"/>
              </a:defRPr>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pic>
        <p:nvPicPr>
          <p:cNvPr id="12" name="Google Shape;12;p2"/>
          <p:cNvPicPr preferRelativeResize="0"/>
          <p:nvPr/>
        </p:nvPicPr>
        <p:blipFill>
          <a:blip r:embed="rId3">
            <a:alphaModFix/>
          </a:blip>
          <a:stretch>
            <a:fillRect/>
          </a:stretch>
        </p:blipFill>
        <p:spPr>
          <a:xfrm>
            <a:off x="-1133474" y="-989482"/>
            <a:ext cx="5295900" cy="2453980"/>
          </a:xfrm>
          <a:prstGeom prst="rect">
            <a:avLst/>
          </a:prstGeom>
          <a:noFill/>
          <a:ln>
            <a:noFill/>
          </a:ln>
        </p:spPr>
      </p:pic>
      <p:pic>
        <p:nvPicPr>
          <p:cNvPr id="13" name="Google Shape;13;p2"/>
          <p:cNvPicPr preferRelativeResize="0"/>
          <p:nvPr/>
        </p:nvPicPr>
        <p:blipFill>
          <a:blip r:embed="rId4">
            <a:alphaModFix/>
          </a:blip>
          <a:stretch>
            <a:fillRect/>
          </a:stretch>
        </p:blipFill>
        <p:spPr>
          <a:xfrm>
            <a:off x="5962651" y="3583027"/>
            <a:ext cx="5295899" cy="258631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bg>
      <p:bgPr>
        <a:solidFill>
          <a:schemeClr val="lt1">
            <a:alpha val="0"/>
          </a:schemeClr>
        </a:solidFill>
        <a:effectLst/>
      </p:bgPr>
    </p:bg>
    <p:spTree>
      <p:nvGrpSpPr>
        <p:cNvPr id="1" name="Shape 24"/>
        <p:cNvGrpSpPr/>
        <p:nvPr/>
      </p:nvGrpSpPr>
      <p:grpSpPr>
        <a:xfrm>
          <a:off x="0" y="0"/>
          <a:ext cx="0" cy="0"/>
          <a:chOff x="0" y="0"/>
          <a:chExt cx="0" cy="0"/>
        </a:xfrm>
      </p:grpSpPr>
      <p:sp>
        <p:nvSpPr>
          <p:cNvPr id="26" name="Google Shape;26;p4"/>
          <p:cNvSpPr txBox="1">
            <a:spLocks noGrp="1"/>
          </p:cNvSpPr>
          <p:nvPr>
            <p:ph type="title"/>
          </p:nvPr>
        </p:nvSpPr>
        <p:spPr>
          <a:xfrm>
            <a:off x="573741" y="203519"/>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b="0">
                <a:solidFill>
                  <a:srgbClr val="242F58"/>
                </a:solidFill>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7" name="Google Shape;27;p4"/>
          <p:cNvSpPr txBox="1">
            <a:spLocks noGrp="1"/>
          </p:cNvSpPr>
          <p:nvPr>
            <p:ph type="body" idx="1"/>
          </p:nvPr>
        </p:nvSpPr>
        <p:spPr>
          <a:xfrm>
            <a:off x="573741" y="1215750"/>
            <a:ext cx="7704000" cy="2803800"/>
          </a:xfrm>
          <a:prstGeom prst="rect">
            <a:avLst/>
          </a:prstGeom>
        </p:spPr>
        <p:txBody>
          <a:bodyPr spcFirstLastPara="1" wrap="square" lIns="91425" tIns="91425" rIns="91425" bIns="91425" anchor="t" anchorCtr="0">
            <a:noAutofit/>
          </a:bodyPr>
          <a:lstStyle>
            <a:lvl1pPr marL="457200" lvl="0" indent="-317500" rtl="0">
              <a:lnSpc>
                <a:spcPct val="100000"/>
              </a:lnSpc>
              <a:spcBef>
                <a:spcPts val="0"/>
              </a:spcBef>
              <a:spcAft>
                <a:spcPts val="0"/>
              </a:spcAft>
              <a:buSzPts val="1400"/>
              <a:buFont typeface="Lexend Deca Light"/>
              <a:buChar char="●"/>
              <a:defRPr/>
            </a:lvl1pPr>
            <a:lvl2pPr marL="914400" lvl="1" indent="-317500" rtl="0">
              <a:lnSpc>
                <a:spcPct val="100000"/>
              </a:lnSpc>
              <a:spcBef>
                <a:spcPts val="0"/>
              </a:spcBef>
              <a:spcAft>
                <a:spcPts val="0"/>
              </a:spcAft>
              <a:buSzPts val="1400"/>
              <a:buFont typeface="Nunito Light"/>
              <a:buChar char="○"/>
              <a:defRPr/>
            </a:lvl2pPr>
            <a:lvl3pPr marL="1371600" lvl="2" indent="-317500" rtl="0">
              <a:lnSpc>
                <a:spcPct val="100000"/>
              </a:lnSpc>
              <a:spcBef>
                <a:spcPts val="0"/>
              </a:spcBef>
              <a:spcAft>
                <a:spcPts val="0"/>
              </a:spcAft>
              <a:buSzPts val="1400"/>
              <a:buFont typeface="Nunito Light"/>
              <a:buChar char="■"/>
              <a:defRPr/>
            </a:lvl3pPr>
            <a:lvl4pPr marL="1828800" lvl="3" indent="-317500" rtl="0">
              <a:lnSpc>
                <a:spcPct val="100000"/>
              </a:lnSpc>
              <a:spcBef>
                <a:spcPts val="0"/>
              </a:spcBef>
              <a:spcAft>
                <a:spcPts val="0"/>
              </a:spcAft>
              <a:buSzPts val="1400"/>
              <a:buFont typeface="Nunito Light"/>
              <a:buChar char="●"/>
              <a:defRPr/>
            </a:lvl4pPr>
            <a:lvl5pPr marL="2286000" lvl="4" indent="-317500" rtl="0">
              <a:lnSpc>
                <a:spcPct val="100000"/>
              </a:lnSpc>
              <a:spcBef>
                <a:spcPts val="0"/>
              </a:spcBef>
              <a:spcAft>
                <a:spcPts val="0"/>
              </a:spcAft>
              <a:buSzPts val="1400"/>
              <a:buFont typeface="Nunito Light"/>
              <a:buChar char="○"/>
              <a:defRPr/>
            </a:lvl5pPr>
            <a:lvl6pPr marL="2743200" lvl="5" indent="-317500" rtl="0">
              <a:lnSpc>
                <a:spcPct val="100000"/>
              </a:lnSpc>
              <a:spcBef>
                <a:spcPts val="0"/>
              </a:spcBef>
              <a:spcAft>
                <a:spcPts val="0"/>
              </a:spcAft>
              <a:buSzPts val="1400"/>
              <a:buFont typeface="Nunito Light"/>
              <a:buChar char="■"/>
              <a:defRPr/>
            </a:lvl6pPr>
            <a:lvl7pPr marL="3200400" lvl="6" indent="-317500" rtl="0">
              <a:lnSpc>
                <a:spcPct val="100000"/>
              </a:lnSpc>
              <a:spcBef>
                <a:spcPts val="0"/>
              </a:spcBef>
              <a:spcAft>
                <a:spcPts val="0"/>
              </a:spcAft>
              <a:buSzPts val="1400"/>
              <a:buFont typeface="Nunito Light"/>
              <a:buChar char="●"/>
              <a:defRPr/>
            </a:lvl7pPr>
            <a:lvl8pPr marL="3657600" lvl="7" indent="-317500" rtl="0">
              <a:lnSpc>
                <a:spcPct val="100000"/>
              </a:lnSpc>
              <a:spcBef>
                <a:spcPts val="0"/>
              </a:spcBef>
              <a:spcAft>
                <a:spcPts val="0"/>
              </a:spcAft>
              <a:buSzPts val="1400"/>
              <a:buFont typeface="Nunito Light"/>
              <a:buChar char="○"/>
              <a:defRPr/>
            </a:lvl8pPr>
            <a:lvl9pPr marL="4114800" lvl="8" indent="-317500" rtl="0">
              <a:lnSpc>
                <a:spcPct val="100000"/>
              </a:lnSpc>
              <a:spcBef>
                <a:spcPts val="0"/>
              </a:spcBef>
              <a:spcAft>
                <a:spcPts val="0"/>
              </a:spcAft>
              <a:buSzPts val="1400"/>
              <a:buFont typeface="Nunito Light"/>
              <a:buChar char="■"/>
              <a:defRPr/>
            </a:lvl9pPr>
          </a:lstStyle>
          <a:p>
            <a:endParaRPr/>
          </a:p>
        </p:txBody>
      </p:sp>
      <p:pic>
        <p:nvPicPr>
          <p:cNvPr id="28" name="Google Shape;28;p4"/>
          <p:cNvPicPr preferRelativeResize="0"/>
          <p:nvPr/>
        </p:nvPicPr>
        <p:blipFill>
          <a:blip r:embed="rId2">
            <a:alphaModFix/>
          </a:blip>
          <a:stretch>
            <a:fillRect/>
          </a:stretch>
        </p:blipFill>
        <p:spPr>
          <a:xfrm>
            <a:off x="5934076" y="-1208655"/>
            <a:ext cx="5295899" cy="2251888"/>
          </a:xfrm>
          <a:prstGeom prst="rect">
            <a:avLst/>
          </a:prstGeom>
          <a:noFill/>
          <a:ln>
            <a:noFill/>
          </a:ln>
        </p:spPr>
      </p:pic>
      <p:pic>
        <p:nvPicPr>
          <p:cNvPr id="29" name="Google Shape;29;p4"/>
          <p:cNvPicPr preferRelativeResize="0"/>
          <p:nvPr/>
        </p:nvPicPr>
        <p:blipFill>
          <a:blip r:embed="rId3">
            <a:alphaModFix/>
          </a:blip>
          <a:stretch>
            <a:fillRect/>
          </a:stretch>
        </p:blipFill>
        <p:spPr>
          <a:xfrm>
            <a:off x="-2069923" y="4019550"/>
            <a:ext cx="5295898" cy="2407246"/>
          </a:xfrm>
          <a:prstGeom prst="rect">
            <a:avLst/>
          </a:prstGeom>
          <a:noFill/>
          <a:ln>
            <a:noFill/>
          </a:ln>
        </p:spPr>
      </p:pic>
      <p:pic>
        <p:nvPicPr>
          <p:cNvPr id="30" name="Google Shape;30;p4"/>
          <p:cNvPicPr preferRelativeResize="0"/>
          <p:nvPr/>
        </p:nvPicPr>
        <p:blipFill>
          <a:blip r:embed="rId4">
            <a:alphaModFix/>
          </a:blip>
          <a:stretch>
            <a:fillRect/>
          </a:stretch>
        </p:blipFill>
        <p:spPr>
          <a:xfrm>
            <a:off x="6474823" y="3719422"/>
            <a:ext cx="4468350" cy="2540678"/>
          </a:xfrm>
          <a:prstGeom prst="rect">
            <a:avLst/>
          </a:prstGeom>
          <a:noFill/>
          <a:ln>
            <a:noFill/>
          </a:ln>
        </p:spPr>
      </p:pic>
      <p:grpSp>
        <p:nvGrpSpPr>
          <p:cNvPr id="33" name="Google Shape;33;p4"/>
          <p:cNvGrpSpPr/>
          <p:nvPr/>
        </p:nvGrpSpPr>
        <p:grpSpPr>
          <a:xfrm rot="17956228" flipH="1">
            <a:off x="8329704" y="4426955"/>
            <a:ext cx="758590" cy="838794"/>
            <a:chOff x="4138184" y="930105"/>
            <a:chExt cx="3868174" cy="4277151"/>
          </a:xfrm>
        </p:grpSpPr>
        <p:sp>
          <p:nvSpPr>
            <p:cNvPr id="34" name="Google Shape;34;p4"/>
            <p:cNvSpPr/>
            <p:nvPr/>
          </p:nvSpPr>
          <p:spPr>
            <a:xfrm>
              <a:off x="4646780" y="3070434"/>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4"/>
            <p:cNvGrpSpPr/>
            <p:nvPr/>
          </p:nvGrpSpPr>
          <p:grpSpPr>
            <a:xfrm>
              <a:off x="4138184" y="930105"/>
              <a:ext cx="3868174" cy="3755764"/>
              <a:chOff x="4138184" y="930105"/>
              <a:chExt cx="3868174" cy="3755764"/>
            </a:xfrm>
          </p:grpSpPr>
          <p:sp>
            <p:nvSpPr>
              <p:cNvPr id="36" name="Google Shape;36;p4"/>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4"/>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4"/>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4"/>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4"/>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4"/>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4"/>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4"/>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4"/>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4"/>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4"/>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4"/>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4"/>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4"/>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4"/>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4"/>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4"/>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4"/>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4"/>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4"/>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4"/>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4"/>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4"/>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4"/>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4"/>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4"/>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4"/>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7;p4"/>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4"/>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4"/>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4"/>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4"/>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4;p4"/>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4"/>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4"/>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9;p4"/>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80;p4"/>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4"/>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4"/>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4"/>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4"/>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4"/>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4"/>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4"/>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4"/>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4"/>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4"/>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4"/>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4"/>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4"/>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4"/>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4"/>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4"/>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4"/>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4"/>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4"/>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4"/>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4"/>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4"/>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4"/>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4"/>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4"/>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4"/>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4"/>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4"/>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4"/>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4"/>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4"/>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4"/>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4"/>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4"/>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4"/>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4"/>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4"/>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4"/>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4"/>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4"/>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4"/>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4"/>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4"/>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4"/>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4"/>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4"/>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4"/>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4"/>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4"/>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4"/>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4"/>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4"/>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4"/>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4"/>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4"/>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4"/>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4"/>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4"/>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4"/>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4"/>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4"/>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4"/>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4"/>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4"/>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4"/>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4"/>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4"/>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4"/>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4"/>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4"/>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4"/>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4"/>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4"/>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4"/>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4"/>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4"/>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4"/>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4"/>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4"/>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4"/>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4"/>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4"/>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4"/>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4"/>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4"/>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4"/>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4"/>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4"/>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169;p4"/>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4"/>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210235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lt1">
            <a:alpha val="0"/>
          </a:schemeClr>
        </a:solidFill>
        <a:effectLst/>
      </p:bgPr>
    </p:bg>
    <p:spTree>
      <p:nvGrpSpPr>
        <p:cNvPr id="1" name="Shape 15"/>
        <p:cNvGrpSpPr/>
        <p:nvPr/>
      </p:nvGrpSpPr>
      <p:grpSpPr>
        <a:xfrm>
          <a:off x="0" y="0"/>
          <a:ext cx="0" cy="0"/>
          <a:chOff x="0" y="0"/>
          <a:chExt cx="0" cy="0"/>
        </a:xfrm>
      </p:grpSpPr>
      <p:pic>
        <p:nvPicPr>
          <p:cNvPr id="16" name="Google Shape;16;p3"/>
          <p:cNvPicPr preferRelativeResize="0"/>
          <p:nvPr userDrawn="1"/>
        </p:nvPicPr>
        <p:blipFill>
          <a:blip r:embed="rId2">
            <a:alphaModFix amt="58000"/>
          </a:blip>
          <a:stretch>
            <a:fillRect/>
          </a:stretch>
        </p:blipFill>
        <p:spPr>
          <a:xfrm>
            <a:off x="0" y="0"/>
            <a:ext cx="9144003" cy="5143501"/>
          </a:xfrm>
          <a:prstGeom prst="rect">
            <a:avLst/>
          </a:prstGeom>
          <a:noFill/>
          <a:ln>
            <a:noFill/>
          </a:ln>
        </p:spPr>
      </p:pic>
      <p:sp>
        <p:nvSpPr>
          <p:cNvPr id="17" name="Google Shape;17;p3"/>
          <p:cNvSpPr txBox="1">
            <a:spLocks noGrp="1"/>
          </p:cNvSpPr>
          <p:nvPr>
            <p:ph type="title"/>
          </p:nvPr>
        </p:nvSpPr>
        <p:spPr>
          <a:xfrm>
            <a:off x="3714750" y="3265675"/>
            <a:ext cx="4716000" cy="841800"/>
          </a:xfrm>
          <a:prstGeom prst="rect">
            <a:avLst/>
          </a:prstGeom>
        </p:spPr>
        <p:txBody>
          <a:bodyPr spcFirstLastPara="1" wrap="square" lIns="91425" tIns="91425" rIns="91425" bIns="91425" anchor="ctr" anchorCtr="0">
            <a:noAutofit/>
          </a:bodyPr>
          <a:lstStyle>
            <a:lvl1pPr lvl="0" algn="r">
              <a:spcBef>
                <a:spcPts val="0"/>
              </a:spcBef>
              <a:spcAft>
                <a:spcPts val="0"/>
              </a:spcAft>
              <a:buSzPts val="3600"/>
              <a:buNone/>
              <a:defRPr sz="5000" b="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8" name="Google Shape;18;p3"/>
          <p:cNvSpPr txBox="1">
            <a:spLocks noGrp="1"/>
          </p:cNvSpPr>
          <p:nvPr>
            <p:ph type="title" idx="2" hasCustomPrompt="1"/>
          </p:nvPr>
        </p:nvSpPr>
        <p:spPr>
          <a:xfrm>
            <a:off x="7529875" y="2376450"/>
            <a:ext cx="900900" cy="841800"/>
          </a:xfrm>
          <a:prstGeom prst="rect">
            <a:avLst/>
          </a:prstGeom>
          <a:solidFill>
            <a:srgbClr val="FFFFFF">
              <a:alpha val="34590"/>
            </a:srgbClr>
          </a:solidFill>
        </p:spPr>
        <p:txBody>
          <a:bodyPr spcFirstLastPara="1" wrap="square" lIns="91425" tIns="91425" rIns="91425" bIns="91425" anchor="ctr" anchorCtr="0">
            <a:noAutofit/>
          </a:bodyPr>
          <a:lstStyle>
            <a:lvl1pPr lvl="0" algn="ctr" rtl="0">
              <a:spcBef>
                <a:spcPts val="0"/>
              </a:spcBef>
              <a:spcAft>
                <a:spcPts val="0"/>
              </a:spcAft>
              <a:buClr>
                <a:schemeClr val="lt1"/>
              </a:buClr>
              <a:buSzPts val="6000"/>
              <a:buNone/>
              <a:defRPr sz="6000" b="0"/>
            </a:lvl1pPr>
            <a:lvl2pPr lvl="1" algn="ctr" rtl="0">
              <a:spcBef>
                <a:spcPts val="0"/>
              </a:spcBef>
              <a:spcAft>
                <a:spcPts val="0"/>
              </a:spcAft>
              <a:buClr>
                <a:schemeClr val="lt1"/>
              </a:buClr>
              <a:buSzPts val="6000"/>
              <a:buNone/>
              <a:defRPr sz="6000">
                <a:solidFill>
                  <a:schemeClr val="lt1"/>
                </a:solidFill>
              </a:defRPr>
            </a:lvl2pPr>
            <a:lvl3pPr lvl="2" algn="ctr" rtl="0">
              <a:spcBef>
                <a:spcPts val="0"/>
              </a:spcBef>
              <a:spcAft>
                <a:spcPts val="0"/>
              </a:spcAft>
              <a:buClr>
                <a:schemeClr val="lt1"/>
              </a:buClr>
              <a:buSzPts val="6000"/>
              <a:buNone/>
              <a:defRPr sz="6000">
                <a:solidFill>
                  <a:schemeClr val="lt1"/>
                </a:solidFill>
              </a:defRPr>
            </a:lvl3pPr>
            <a:lvl4pPr lvl="3" algn="ctr" rtl="0">
              <a:spcBef>
                <a:spcPts val="0"/>
              </a:spcBef>
              <a:spcAft>
                <a:spcPts val="0"/>
              </a:spcAft>
              <a:buClr>
                <a:schemeClr val="lt1"/>
              </a:buClr>
              <a:buSzPts val="6000"/>
              <a:buNone/>
              <a:defRPr sz="6000">
                <a:solidFill>
                  <a:schemeClr val="lt1"/>
                </a:solidFill>
              </a:defRPr>
            </a:lvl4pPr>
            <a:lvl5pPr lvl="4" algn="ctr" rtl="0">
              <a:spcBef>
                <a:spcPts val="0"/>
              </a:spcBef>
              <a:spcAft>
                <a:spcPts val="0"/>
              </a:spcAft>
              <a:buClr>
                <a:schemeClr val="lt1"/>
              </a:buClr>
              <a:buSzPts val="6000"/>
              <a:buNone/>
              <a:defRPr sz="6000">
                <a:solidFill>
                  <a:schemeClr val="lt1"/>
                </a:solidFill>
              </a:defRPr>
            </a:lvl5pPr>
            <a:lvl6pPr lvl="5" algn="ctr" rtl="0">
              <a:spcBef>
                <a:spcPts val="0"/>
              </a:spcBef>
              <a:spcAft>
                <a:spcPts val="0"/>
              </a:spcAft>
              <a:buClr>
                <a:schemeClr val="lt1"/>
              </a:buClr>
              <a:buSzPts val="6000"/>
              <a:buNone/>
              <a:defRPr sz="6000">
                <a:solidFill>
                  <a:schemeClr val="lt1"/>
                </a:solidFill>
              </a:defRPr>
            </a:lvl6pPr>
            <a:lvl7pPr lvl="6" algn="ctr" rtl="0">
              <a:spcBef>
                <a:spcPts val="0"/>
              </a:spcBef>
              <a:spcAft>
                <a:spcPts val="0"/>
              </a:spcAft>
              <a:buClr>
                <a:schemeClr val="lt1"/>
              </a:buClr>
              <a:buSzPts val="6000"/>
              <a:buNone/>
              <a:defRPr sz="6000">
                <a:solidFill>
                  <a:schemeClr val="lt1"/>
                </a:solidFill>
              </a:defRPr>
            </a:lvl7pPr>
            <a:lvl8pPr lvl="7" algn="ctr" rtl="0">
              <a:spcBef>
                <a:spcPts val="0"/>
              </a:spcBef>
              <a:spcAft>
                <a:spcPts val="0"/>
              </a:spcAft>
              <a:buClr>
                <a:schemeClr val="lt1"/>
              </a:buClr>
              <a:buSzPts val="6000"/>
              <a:buNone/>
              <a:defRPr sz="6000">
                <a:solidFill>
                  <a:schemeClr val="lt1"/>
                </a:solidFill>
              </a:defRPr>
            </a:lvl8pPr>
            <a:lvl9pPr lvl="8" algn="ctr" rtl="0">
              <a:spcBef>
                <a:spcPts val="0"/>
              </a:spcBef>
              <a:spcAft>
                <a:spcPts val="0"/>
              </a:spcAft>
              <a:buClr>
                <a:schemeClr val="lt1"/>
              </a:buClr>
              <a:buSzPts val="6000"/>
              <a:buNone/>
              <a:defRPr sz="6000">
                <a:solidFill>
                  <a:schemeClr val="lt1"/>
                </a:solidFill>
              </a:defRPr>
            </a:lvl9pPr>
          </a:lstStyle>
          <a:p>
            <a:r>
              <a:t>xx%</a:t>
            </a:r>
          </a:p>
        </p:txBody>
      </p:sp>
      <p:sp>
        <p:nvSpPr>
          <p:cNvPr id="19" name="Google Shape;19;p3"/>
          <p:cNvSpPr txBox="1">
            <a:spLocks noGrp="1"/>
          </p:cNvSpPr>
          <p:nvPr>
            <p:ph type="subTitle" idx="1"/>
          </p:nvPr>
        </p:nvSpPr>
        <p:spPr>
          <a:xfrm>
            <a:off x="3714750" y="4170800"/>
            <a:ext cx="4716000" cy="433200"/>
          </a:xfrm>
          <a:prstGeom prst="rect">
            <a:avLst/>
          </a:prstGeom>
          <a:solidFill>
            <a:srgbClr val="FFFFFF">
              <a:alpha val="34590"/>
            </a:srgbClr>
          </a:solidFill>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16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pic>
        <p:nvPicPr>
          <p:cNvPr id="20" name="Google Shape;20;p3"/>
          <p:cNvPicPr preferRelativeResize="0"/>
          <p:nvPr/>
        </p:nvPicPr>
        <p:blipFill>
          <a:blip r:embed="rId3">
            <a:alphaModFix/>
          </a:blip>
          <a:stretch>
            <a:fillRect/>
          </a:stretch>
        </p:blipFill>
        <p:spPr>
          <a:xfrm>
            <a:off x="-1877576" y="836158"/>
            <a:ext cx="5295901" cy="2366198"/>
          </a:xfrm>
          <a:prstGeom prst="rect">
            <a:avLst/>
          </a:prstGeom>
          <a:noFill/>
          <a:ln>
            <a:noFill/>
          </a:ln>
        </p:spPr>
      </p:pic>
      <p:pic>
        <p:nvPicPr>
          <p:cNvPr id="21" name="Google Shape;21;p3"/>
          <p:cNvPicPr preferRelativeResize="0"/>
          <p:nvPr/>
        </p:nvPicPr>
        <p:blipFill>
          <a:blip r:embed="rId4">
            <a:alphaModFix/>
          </a:blip>
          <a:stretch>
            <a:fillRect/>
          </a:stretch>
        </p:blipFill>
        <p:spPr>
          <a:xfrm>
            <a:off x="5725676" y="-325448"/>
            <a:ext cx="5295899" cy="2251888"/>
          </a:xfrm>
          <a:prstGeom prst="rect">
            <a:avLst/>
          </a:prstGeom>
          <a:noFill/>
          <a:ln>
            <a:noFill/>
          </a:ln>
        </p:spPr>
      </p:pic>
      <p:pic>
        <p:nvPicPr>
          <p:cNvPr id="22" name="Google Shape;22;p3"/>
          <p:cNvPicPr preferRelativeResize="0"/>
          <p:nvPr/>
        </p:nvPicPr>
        <p:blipFill>
          <a:blip r:embed="rId5">
            <a:alphaModFix/>
          </a:blip>
          <a:stretch>
            <a:fillRect/>
          </a:stretch>
        </p:blipFill>
        <p:spPr>
          <a:xfrm>
            <a:off x="1495426" y="-325440"/>
            <a:ext cx="5295898" cy="2407246"/>
          </a:xfrm>
          <a:prstGeom prst="rect">
            <a:avLst/>
          </a:prstGeom>
          <a:noFill/>
          <a:ln>
            <a:noFill/>
          </a:ln>
        </p:spPr>
      </p:pic>
      <p:pic>
        <p:nvPicPr>
          <p:cNvPr id="23" name="Google Shape;23;p3"/>
          <p:cNvPicPr preferRelativeResize="0"/>
          <p:nvPr/>
        </p:nvPicPr>
        <p:blipFill>
          <a:blip r:embed="rId6">
            <a:alphaModFix/>
          </a:blip>
          <a:stretch>
            <a:fillRect/>
          </a:stretch>
        </p:blipFill>
        <p:spPr>
          <a:xfrm>
            <a:off x="-1581149" y="3202356"/>
            <a:ext cx="5295899" cy="2540678"/>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hanks">
  <p:cSld name="Thanks">
    <p:bg>
      <p:bgPr>
        <a:solidFill>
          <a:schemeClr val="lt1">
            <a:alpha val="0"/>
          </a:schemeClr>
        </a:solidFill>
        <a:effectLst/>
      </p:bgPr>
    </p:bg>
    <p:spTree>
      <p:nvGrpSpPr>
        <p:cNvPr id="1" name="Shape 2776"/>
        <p:cNvGrpSpPr/>
        <p:nvPr/>
      </p:nvGrpSpPr>
      <p:grpSpPr>
        <a:xfrm>
          <a:off x="0" y="0"/>
          <a:ext cx="0" cy="0"/>
          <a:chOff x="0" y="0"/>
          <a:chExt cx="0" cy="0"/>
        </a:xfrm>
      </p:grpSpPr>
      <p:pic>
        <p:nvPicPr>
          <p:cNvPr id="2777" name="Google Shape;2777;p30"/>
          <p:cNvPicPr preferRelativeResize="0"/>
          <p:nvPr userDrawn="1"/>
        </p:nvPicPr>
        <p:blipFill>
          <a:blip r:embed="rId2">
            <a:alphaModFix amt="58000"/>
          </a:blip>
          <a:stretch>
            <a:fillRect/>
          </a:stretch>
        </p:blipFill>
        <p:spPr>
          <a:xfrm>
            <a:off x="0" y="0"/>
            <a:ext cx="9144003" cy="5143501"/>
          </a:xfrm>
          <a:prstGeom prst="rect">
            <a:avLst/>
          </a:prstGeom>
          <a:noFill/>
          <a:ln>
            <a:noFill/>
          </a:ln>
        </p:spPr>
      </p:pic>
      <p:sp>
        <p:nvSpPr>
          <p:cNvPr id="2778" name="Google Shape;2778;p30"/>
          <p:cNvSpPr txBox="1">
            <a:spLocks noGrp="1"/>
          </p:cNvSpPr>
          <p:nvPr>
            <p:ph type="title"/>
          </p:nvPr>
        </p:nvSpPr>
        <p:spPr>
          <a:xfrm>
            <a:off x="713225" y="732900"/>
            <a:ext cx="3355200" cy="1058700"/>
          </a:xfrm>
          <a:prstGeom prst="rect">
            <a:avLst/>
          </a:prstGeom>
        </p:spPr>
        <p:txBody>
          <a:bodyPr spcFirstLastPara="1" wrap="square" lIns="91425" tIns="91425" rIns="91425" bIns="91425" anchor="b" anchorCtr="0">
            <a:noAutofit/>
          </a:bodyPr>
          <a:lstStyle>
            <a:lvl1pPr lvl="0" rtl="0">
              <a:spcBef>
                <a:spcPts val="0"/>
              </a:spcBef>
              <a:spcAft>
                <a:spcPts val="0"/>
              </a:spcAft>
              <a:buSzPts val="3500"/>
              <a:buNone/>
              <a:defRPr sz="6000" b="0"/>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779" name="Google Shape;2779;p30"/>
          <p:cNvSpPr txBox="1">
            <a:spLocks noGrp="1"/>
          </p:cNvSpPr>
          <p:nvPr>
            <p:ph type="subTitle" idx="1"/>
          </p:nvPr>
        </p:nvSpPr>
        <p:spPr>
          <a:xfrm>
            <a:off x="713225" y="1841450"/>
            <a:ext cx="3355200" cy="1058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pic>
        <p:nvPicPr>
          <p:cNvPr id="2780" name="Google Shape;2780;p30"/>
          <p:cNvPicPr preferRelativeResize="0"/>
          <p:nvPr/>
        </p:nvPicPr>
        <p:blipFill>
          <a:blip r:embed="rId3">
            <a:alphaModFix/>
          </a:blip>
          <a:stretch>
            <a:fillRect/>
          </a:stretch>
        </p:blipFill>
        <p:spPr>
          <a:xfrm flipH="1">
            <a:off x="6505575" y="-1083882"/>
            <a:ext cx="5295900" cy="2453980"/>
          </a:xfrm>
          <a:prstGeom prst="rect">
            <a:avLst/>
          </a:prstGeom>
          <a:noFill/>
          <a:ln>
            <a:noFill/>
          </a:ln>
        </p:spPr>
      </p:pic>
      <p:pic>
        <p:nvPicPr>
          <p:cNvPr id="2781" name="Google Shape;2781;p30"/>
          <p:cNvPicPr preferRelativeResize="0"/>
          <p:nvPr/>
        </p:nvPicPr>
        <p:blipFill>
          <a:blip r:embed="rId4">
            <a:alphaModFix/>
          </a:blip>
          <a:stretch>
            <a:fillRect/>
          </a:stretch>
        </p:blipFill>
        <p:spPr>
          <a:xfrm flipH="1">
            <a:off x="6200099" y="1723074"/>
            <a:ext cx="4461351" cy="1925975"/>
          </a:xfrm>
          <a:prstGeom prst="rect">
            <a:avLst/>
          </a:prstGeom>
          <a:noFill/>
          <a:ln>
            <a:noFill/>
          </a:ln>
        </p:spPr>
      </p:pic>
      <p:pic>
        <p:nvPicPr>
          <p:cNvPr id="2782" name="Google Shape;2782;p30"/>
          <p:cNvPicPr preferRelativeResize="0"/>
          <p:nvPr/>
        </p:nvPicPr>
        <p:blipFill>
          <a:blip r:embed="rId5">
            <a:alphaModFix/>
          </a:blip>
          <a:stretch>
            <a:fillRect/>
          </a:stretch>
        </p:blipFill>
        <p:spPr>
          <a:xfrm flipH="1">
            <a:off x="5198763" y="3100170"/>
            <a:ext cx="5295899" cy="2856025"/>
          </a:xfrm>
          <a:prstGeom prst="rect">
            <a:avLst/>
          </a:prstGeom>
          <a:noFill/>
          <a:ln>
            <a:noFill/>
          </a:ln>
        </p:spPr>
      </p:pic>
      <p:pic>
        <p:nvPicPr>
          <p:cNvPr id="2783" name="Google Shape;2783;p30"/>
          <p:cNvPicPr preferRelativeResize="0"/>
          <p:nvPr/>
        </p:nvPicPr>
        <p:blipFill>
          <a:blip r:embed="rId6">
            <a:alphaModFix/>
          </a:blip>
          <a:stretch>
            <a:fillRect/>
          </a:stretch>
        </p:blipFill>
        <p:spPr>
          <a:xfrm flipH="1">
            <a:off x="-964375" y="-1007677"/>
            <a:ext cx="4248775" cy="2074950"/>
          </a:xfrm>
          <a:prstGeom prst="rect">
            <a:avLst/>
          </a:prstGeom>
          <a:noFill/>
          <a:ln>
            <a:noFill/>
          </a:ln>
        </p:spPr>
      </p:pic>
      <p:sp>
        <p:nvSpPr>
          <p:cNvPr id="2784" name="Google Shape;2784;p30"/>
          <p:cNvSpPr/>
          <p:nvPr/>
        </p:nvSpPr>
        <p:spPr>
          <a:xfrm flipH="1">
            <a:off x="-329215" y="1123950"/>
            <a:ext cx="895650" cy="4038600"/>
          </a:xfrm>
          <a:custGeom>
            <a:avLst/>
            <a:gdLst/>
            <a:ahLst/>
            <a:cxnLst/>
            <a:rect l="l" t="t" r="r" b="b"/>
            <a:pathLst>
              <a:path w="35826" h="161544" extrusionOk="0">
                <a:moveTo>
                  <a:pt x="35826" y="0"/>
                </a:moveTo>
                <a:cubicBezTo>
                  <a:pt x="35826" y="7522"/>
                  <a:pt x="35426" y="15839"/>
                  <a:pt x="31254" y="22098"/>
                </a:cubicBezTo>
                <a:cubicBezTo>
                  <a:pt x="23682" y="33456"/>
                  <a:pt x="9702" y="39729"/>
                  <a:pt x="2679" y="51435"/>
                </a:cubicBezTo>
                <a:cubicBezTo>
                  <a:pt x="-924" y="57440"/>
                  <a:pt x="-218" y="65523"/>
                  <a:pt x="1155" y="72390"/>
                </a:cubicBezTo>
                <a:cubicBezTo>
                  <a:pt x="3222" y="82727"/>
                  <a:pt x="23401" y="92001"/>
                  <a:pt x="30492" y="84201"/>
                </a:cubicBezTo>
                <a:cubicBezTo>
                  <a:pt x="34084" y="80250"/>
                  <a:pt x="34638" y="70303"/>
                  <a:pt x="29730" y="68199"/>
                </a:cubicBezTo>
                <a:cubicBezTo>
                  <a:pt x="25105" y="66217"/>
                  <a:pt x="19058" y="68075"/>
                  <a:pt x="14871" y="70866"/>
                </a:cubicBezTo>
                <a:cubicBezTo>
                  <a:pt x="7918" y="75501"/>
                  <a:pt x="5560" y="85427"/>
                  <a:pt x="4584" y="93726"/>
                </a:cubicBezTo>
                <a:cubicBezTo>
                  <a:pt x="3188" y="105588"/>
                  <a:pt x="1833" y="118248"/>
                  <a:pt x="5727" y="129540"/>
                </a:cubicBezTo>
                <a:cubicBezTo>
                  <a:pt x="10281" y="142745"/>
                  <a:pt x="20284" y="155297"/>
                  <a:pt x="32778" y="161544"/>
                </a:cubicBezTo>
              </a:path>
            </a:pathLst>
          </a:custGeom>
          <a:noFill/>
          <a:ln w="19050" cap="flat" cmpd="sng">
            <a:solidFill>
              <a:schemeClr val="accent5"/>
            </a:solidFill>
            <a:prstDash val="dash"/>
            <a:round/>
            <a:headEnd type="none" w="med" len="med"/>
            <a:tailEnd type="none" w="med" len="med"/>
          </a:ln>
        </p:spPr>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2786"/>
        <p:cNvGrpSpPr/>
        <p:nvPr/>
      </p:nvGrpSpPr>
      <p:grpSpPr>
        <a:xfrm>
          <a:off x="0" y="0"/>
          <a:ext cx="0" cy="0"/>
          <a:chOff x="0" y="0"/>
          <a:chExt cx="0" cy="0"/>
        </a:xfrm>
      </p:grpSpPr>
      <p:pic>
        <p:nvPicPr>
          <p:cNvPr id="2787" name="Google Shape;2787;p31"/>
          <p:cNvPicPr preferRelativeResize="0"/>
          <p:nvPr/>
        </p:nvPicPr>
        <p:blipFill>
          <a:blip r:embed="rId2">
            <a:alphaModFix amt="58000"/>
          </a:blip>
          <a:stretch>
            <a:fillRect/>
          </a:stretch>
        </p:blipFill>
        <p:spPr>
          <a:xfrm>
            <a:off x="0" y="0"/>
            <a:ext cx="9144003" cy="5143501"/>
          </a:xfrm>
          <a:prstGeom prst="rect">
            <a:avLst/>
          </a:prstGeom>
          <a:noFill/>
          <a:ln>
            <a:noFill/>
          </a:ln>
        </p:spPr>
      </p:pic>
      <p:pic>
        <p:nvPicPr>
          <p:cNvPr id="2788" name="Google Shape;2788;p31"/>
          <p:cNvPicPr preferRelativeResize="0"/>
          <p:nvPr/>
        </p:nvPicPr>
        <p:blipFill>
          <a:blip r:embed="rId3">
            <a:alphaModFix/>
          </a:blip>
          <a:stretch>
            <a:fillRect/>
          </a:stretch>
        </p:blipFill>
        <p:spPr>
          <a:xfrm flipH="1">
            <a:off x="4286250" y="3424243"/>
            <a:ext cx="5295900" cy="2453980"/>
          </a:xfrm>
          <a:prstGeom prst="rect">
            <a:avLst/>
          </a:prstGeom>
          <a:noFill/>
          <a:ln>
            <a:noFill/>
          </a:ln>
        </p:spPr>
      </p:pic>
      <p:pic>
        <p:nvPicPr>
          <p:cNvPr id="2789" name="Google Shape;2789;p31"/>
          <p:cNvPicPr preferRelativeResize="0"/>
          <p:nvPr/>
        </p:nvPicPr>
        <p:blipFill>
          <a:blip r:embed="rId4">
            <a:alphaModFix/>
          </a:blip>
          <a:stretch>
            <a:fillRect/>
          </a:stretch>
        </p:blipFill>
        <p:spPr>
          <a:xfrm>
            <a:off x="-903724" y="3464541"/>
            <a:ext cx="5295899" cy="2373384"/>
          </a:xfrm>
          <a:prstGeom prst="rect">
            <a:avLst/>
          </a:prstGeom>
          <a:noFill/>
          <a:ln>
            <a:noFill/>
          </a:ln>
        </p:spPr>
      </p:pic>
      <p:pic>
        <p:nvPicPr>
          <p:cNvPr id="2790" name="Google Shape;2790;p31"/>
          <p:cNvPicPr preferRelativeResize="0"/>
          <p:nvPr/>
        </p:nvPicPr>
        <p:blipFill>
          <a:blip r:embed="rId5">
            <a:alphaModFix/>
          </a:blip>
          <a:stretch>
            <a:fillRect/>
          </a:stretch>
        </p:blipFill>
        <p:spPr>
          <a:xfrm>
            <a:off x="1924051" y="3959964"/>
            <a:ext cx="5295899" cy="2251888"/>
          </a:xfrm>
          <a:prstGeom prst="rect">
            <a:avLst/>
          </a:prstGeom>
          <a:noFill/>
          <a:ln>
            <a:noFill/>
          </a:ln>
        </p:spPr>
      </p:pic>
      <p:pic>
        <p:nvPicPr>
          <p:cNvPr id="2791" name="Google Shape;2791;p31"/>
          <p:cNvPicPr preferRelativeResize="0"/>
          <p:nvPr/>
        </p:nvPicPr>
        <p:blipFill>
          <a:blip r:embed="rId6">
            <a:alphaModFix/>
          </a:blip>
          <a:stretch>
            <a:fillRect/>
          </a:stretch>
        </p:blipFill>
        <p:spPr>
          <a:xfrm flipH="1">
            <a:off x="638176" y="2796126"/>
            <a:ext cx="5295897" cy="2290213"/>
          </a:xfrm>
          <a:prstGeom prst="rect">
            <a:avLst/>
          </a:prstGeom>
          <a:noFill/>
          <a:ln>
            <a:noFill/>
          </a:ln>
        </p:spPr>
      </p:pic>
      <p:pic>
        <p:nvPicPr>
          <p:cNvPr id="2792" name="Google Shape;2792;p31"/>
          <p:cNvPicPr preferRelativeResize="0"/>
          <p:nvPr/>
        </p:nvPicPr>
        <p:blipFill>
          <a:blip r:embed="rId5">
            <a:alphaModFix/>
          </a:blip>
          <a:stretch>
            <a:fillRect/>
          </a:stretch>
        </p:blipFill>
        <p:spPr>
          <a:xfrm>
            <a:off x="5686426" y="-821586"/>
            <a:ext cx="5295899" cy="2251888"/>
          </a:xfrm>
          <a:prstGeom prst="rect">
            <a:avLst/>
          </a:prstGeom>
          <a:noFill/>
          <a:ln>
            <a:noFill/>
          </a:ln>
        </p:spPr>
      </p:pic>
      <p:grpSp>
        <p:nvGrpSpPr>
          <p:cNvPr id="2793" name="Google Shape;2793;p31"/>
          <p:cNvGrpSpPr/>
          <p:nvPr/>
        </p:nvGrpSpPr>
        <p:grpSpPr>
          <a:xfrm rot="1478259" flipH="1">
            <a:off x="8349965" y="2736311"/>
            <a:ext cx="1429879" cy="1600485"/>
            <a:chOff x="4138184" y="930105"/>
            <a:chExt cx="3868174" cy="4329704"/>
          </a:xfrm>
        </p:grpSpPr>
        <p:sp>
          <p:nvSpPr>
            <p:cNvPr id="2794" name="Google Shape;2794;p31"/>
            <p:cNvSpPr/>
            <p:nvPr/>
          </p:nvSpPr>
          <p:spPr>
            <a:xfrm>
              <a:off x="4368726" y="312298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216893">
                <a:alpha val="383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795" name="Google Shape;2795;p31"/>
            <p:cNvGrpSpPr/>
            <p:nvPr/>
          </p:nvGrpSpPr>
          <p:grpSpPr>
            <a:xfrm>
              <a:off x="4138184" y="930105"/>
              <a:ext cx="3868174" cy="3755764"/>
              <a:chOff x="4138184" y="930105"/>
              <a:chExt cx="3868174" cy="3755764"/>
            </a:xfrm>
          </p:grpSpPr>
          <p:sp>
            <p:nvSpPr>
              <p:cNvPr id="2796" name="Google Shape;2796;p31"/>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31"/>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31"/>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31"/>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31"/>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31"/>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31"/>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31"/>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31"/>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31"/>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31"/>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31"/>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31"/>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31"/>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31"/>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31"/>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31"/>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31"/>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31"/>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31"/>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31"/>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31"/>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31"/>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31"/>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31"/>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31"/>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31"/>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31"/>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31"/>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31"/>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31"/>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31"/>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31"/>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31"/>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31"/>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31"/>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31"/>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31"/>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31"/>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31"/>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31"/>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31"/>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31"/>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31"/>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31"/>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31"/>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31"/>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31"/>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31"/>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31"/>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31"/>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31"/>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31"/>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31"/>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31"/>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31"/>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31"/>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31"/>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31"/>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31"/>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31"/>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31"/>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31"/>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31"/>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31"/>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31"/>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31"/>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31"/>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31"/>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31"/>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31"/>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31"/>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31"/>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31"/>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31"/>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31"/>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31"/>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31"/>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31"/>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31"/>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31"/>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31"/>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31"/>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31"/>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31"/>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31"/>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31"/>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31"/>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31"/>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31"/>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31"/>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31"/>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31"/>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31"/>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31"/>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31"/>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31"/>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31"/>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31"/>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31"/>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31"/>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31"/>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31"/>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31"/>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31"/>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31"/>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31"/>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31"/>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31"/>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31"/>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31"/>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31"/>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31"/>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31"/>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31"/>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31"/>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31"/>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31"/>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31"/>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31"/>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31"/>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31"/>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31"/>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31"/>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31"/>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31"/>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31"/>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31"/>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31"/>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31"/>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31"/>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31"/>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31"/>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31"/>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31"/>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931" name="Google Shape;2931;p31"/>
          <p:cNvGrpSpPr/>
          <p:nvPr/>
        </p:nvGrpSpPr>
        <p:grpSpPr>
          <a:xfrm rot="6170894" flipH="1">
            <a:off x="-852305" y="1602879"/>
            <a:ext cx="1896899" cy="1388338"/>
            <a:chOff x="2874822" y="930105"/>
            <a:chExt cx="5131535" cy="3755764"/>
          </a:xfrm>
        </p:grpSpPr>
        <p:sp>
          <p:nvSpPr>
            <p:cNvPr id="2932" name="Google Shape;2932;p31"/>
            <p:cNvSpPr/>
            <p:nvPr/>
          </p:nvSpPr>
          <p:spPr>
            <a:xfrm>
              <a:off x="2874822" y="123737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216893">
                <a:alpha val="383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33" name="Google Shape;2933;p31"/>
            <p:cNvGrpSpPr/>
            <p:nvPr/>
          </p:nvGrpSpPr>
          <p:grpSpPr>
            <a:xfrm>
              <a:off x="4138184" y="930105"/>
              <a:ext cx="3868174" cy="3755764"/>
              <a:chOff x="4138184" y="930105"/>
              <a:chExt cx="3868174" cy="3755764"/>
            </a:xfrm>
          </p:grpSpPr>
          <p:sp>
            <p:nvSpPr>
              <p:cNvPr id="2934" name="Google Shape;2934;p31"/>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31"/>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31"/>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31"/>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31"/>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31"/>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31"/>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31"/>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31"/>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31"/>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31"/>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31"/>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31"/>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31"/>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31"/>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31"/>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31"/>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31"/>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31"/>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31"/>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31"/>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31"/>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31"/>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31"/>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31"/>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31"/>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31"/>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31"/>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31"/>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31"/>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31"/>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31"/>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31"/>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31"/>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31"/>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31"/>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31"/>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31"/>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31"/>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31"/>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31"/>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31"/>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31"/>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31"/>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31"/>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31"/>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31"/>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31"/>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31"/>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31"/>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31"/>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31"/>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31"/>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31"/>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31"/>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31"/>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31"/>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31"/>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31"/>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31"/>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31"/>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31"/>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31"/>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31"/>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31"/>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31"/>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31"/>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31"/>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31"/>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31"/>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31"/>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31"/>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31"/>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31"/>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31"/>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31"/>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31"/>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31"/>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31"/>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31"/>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31"/>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31"/>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31"/>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31"/>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31"/>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31"/>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31"/>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31"/>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31"/>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31"/>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31"/>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31"/>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31"/>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31"/>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31"/>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31"/>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31"/>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31"/>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31"/>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31"/>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31"/>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31"/>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31"/>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31"/>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31"/>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31"/>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31"/>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31"/>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31"/>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31"/>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31"/>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31"/>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31"/>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31"/>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31"/>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31"/>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31"/>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31"/>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31"/>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31"/>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31"/>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31"/>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31"/>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31"/>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31"/>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31"/>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31"/>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31"/>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31"/>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31"/>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31"/>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31"/>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31"/>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31"/>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31"/>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069" name="Google Shape;3069;p31"/>
          <p:cNvSpPr/>
          <p:nvPr/>
        </p:nvSpPr>
        <p:spPr>
          <a:xfrm flipH="1">
            <a:off x="-87205" y="4191000"/>
            <a:ext cx="9794850" cy="1002925"/>
          </a:xfrm>
          <a:custGeom>
            <a:avLst/>
            <a:gdLst/>
            <a:ahLst/>
            <a:cxnLst/>
            <a:rect l="l" t="t" r="r" b="b"/>
            <a:pathLst>
              <a:path w="391794" h="40117" extrusionOk="0">
                <a:moveTo>
                  <a:pt x="3174" y="0"/>
                </a:moveTo>
                <a:cubicBezTo>
                  <a:pt x="-2909" y="6083"/>
                  <a:pt x="589" y="19772"/>
                  <a:pt x="6984" y="25527"/>
                </a:cubicBezTo>
                <a:cubicBezTo>
                  <a:pt x="13414" y="31314"/>
                  <a:pt x="25694" y="31850"/>
                  <a:pt x="32892" y="27051"/>
                </a:cubicBezTo>
                <a:cubicBezTo>
                  <a:pt x="35633" y="25223"/>
                  <a:pt x="38110" y="21519"/>
                  <a:pt x="37464" y="18288"/>
                </a:cubicBezTo>
                <a:cubicBezTo>
                  <a:pt x="36960" y="15766"/>
                  <a:pt x="33539" y="13778"/>
                  <a:pt x="30987" y="14097"/>
                </a:cubicBezTo>
                <a:cubicBezTo>
                  <a:pt x="25063" y="14838"/>
                  <a:pt x="25063" y="29787"/>
                  <a:pt x="30606" y="32004"/>
                </a:cubicBezTo>
                <a:cubicBezTo>
                  <a:pt x="57874" y="42911"/>
                  <a:pt x="89438" y="17100"/>
                  <a:pt x="118236" y="22860"/>
                </a:cubicBezTo>
                <a:cubicBezTo>
                  <a:pt x="142766" y="27766"/>
                  <a:pt x="166565" y="42727"/>
                  <a:pt x="191388" y="39624"/>
                </a:cubicBezTo>
                <a:cubicBezTo>
                  <a:pt x="203350" y="38129"/>
                  <a:pt x="214572" y="32992"/>
                  <a:pt x="226059" y="29337"/>
                </a:cubicBezTo>
                <a:cubicBezTo>
                  <a:pt x="240306" y="24804"/>
                  <a:pt x="255730" y="23237"/>
                  <a:pt x="270636" y="24384"/>
                </a:cubicBezTo>
                <a:cubicBezTo>
                  <a:pt x="294454" y="26216"/>
                  <a:pt x="317351" y="39715"/>
                  <a:pt x="341121" y="37338"/>
                </a:cubicBezTo>
                <a:cubicBezTo>
                  <a:pt x="358566" y="35593"/>
                  <a:pt x="374262" y="23241"/>
                  <a:pt x="391794" y="23241"/>
                </a:cubicBezTo>
              </a:path>
            </a:pathLst>
          </a:custGeom>
          <a:noFill/>
          <a:ln w="19050" cap="flat" cmpd="sng">
            <a:solidFill>
              <a:schemeClr val="accent5"/>
            </a:solidFill>
            <a:prstDash val="dash"/>
            <a:round/>
            <a:headEnd type="none" w="med" len="med"/>
            <a:tailEnd type="none" w="med" len="med"/>
          </a:ln>
        </p:spPr>
      </p:sp>
      <p:sp>
        <p:nvSpPr>
          <p:cNvPr id="3070" name="Google Shape;3070;p31"/>
          <p:cNvSpPr/>
          <p:nvPr/>
        </p:nvSpPr>
        <p:spPr>
          <a:xfrm flipH="1">
            <a:off x="-96738" y="-190500"/>
            <a:ext cx="6019800" cy="1533525"/>
          </a:xfrm>
          <a:custGeom>
            <a:avLst/>
            <a:gdLst/>
            <a:ahLst/>
            <a:cxnLst/>
            <a:rect l="l" t="t" r="r" b="b"/>
            <a:pathLst>
              <a:path w="240792" h="61341" extrusionOk="0">
                <a:moveTo>
                  <a:pt x="240792" y="61341"/>
                </a:moveTo>
                <a:cubicBezTo>
                  <a:pt x="231352" y="61341"/>
                  <a:pt x="220676" y="54485"/>
                  <a:pt x="217170" y="45720"/>
                </a:cubicBezTo>
                <a:cubicBezTo>
                  <a:pt x="214326" y="38610"/>
                  <a:pt x="217599" y="30289"/>
                  <a:pt x="219456" y="22860"/>
                </a:cubicBezTo>
                <a:cubicBezTo>
                  <a:pt x="220186" y="19939"/>
                  <a:pt x="220636" y="14859"/>
                  <a:pt x="223647" y="14859"/>
                </a:cubicBezTo>
                <a:cubicBezTo>
                  <a:pt x="225133" y="14859"/>
                  <a:pt x="225171" y="17564"/>
                  <a:pt x="225171" y="19050"/>
                </a:cubicBezTo>
                <a:cubicBezTo>
                  <a:pt x="225171" y="26155"/>
                  <a:pt x="221851" y="36326"/>
                  <a:pt x="214884" y="37719"/>
                </a:cubicBezTo>
                <a:cubicBezTo>
                  <a:pt x="205077" y="39680"/>
                  <a:pt x="201603" y="21162"/>
                  <a:pt x="192024" y="18288"/>
                </a:cubicBezTo>
                <a:cubicBezTo>
                  <a:pt x="177507" y="13933"/>
                  <a:pt x="161828" y="22348"/>
                  <a:pt x="146685" y="21717"/>
                </a:cubicBezTo>
                <a:cubicBezTo>
                  <a:pt x="133437" y="21165"/>
                  <a:pt x="121763" y="11751"/>
                  <a:pt x="108585" y="10287"/>
                </a:cubicBezTo>
                <a:cubicBezTo>
                  <a:pt x="87855" y="7984"/>
                  <a:pt x="67466" y="23827"/>
                  <a:pt x="46863" y="20574"/>
                </a:cubicBezTo>
                <a:cubicBezTo>
                  <a:pt x="38739" y="19291"/>
                  <a:pt x="30138" y="18690"/>
                  <a:pt x="22860" y="14859"/>
                </a:cubicBezTo>
                <a:cubicBezTo>
                  <a:pt x="14818" y="10626"/>
                  <a:pt x="8129" y="4064"/>
                  <a:pt x="0" y="0"/>
                </a:cubicBezTo>
              </a:path>
            </a:pathLst>
          </a:custGeom>
          <a:noFill/>
          <a:ln w="19050" cap="flat" cmpd="sng">
            <a:solidFill>
              <a:schemeClr val="accent5"/>
            </a:solidFill>
            <a:prstDash val="dash"/>
            <a:round/>
            <a:headEnd type="none" w="med" len="med"/>
            <a:tailEnd type="none" w="med" len="med"/>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ackground 1">
  <p:cSld name="Background 1">
    <p:spTree>
      <p:nvGrpSpPr>
        <p:cNvPr id="1" name="Shape 3071"/>
        <p:cNvGrpSpPr/>
        <p:nvPr/>
      </p:nvGrpSpPr>
      <p:grpSpPr>
        <a:xfrm>
          <a:off x="0" y="0"/>
          <a:ext cx="0" cy="0"/>
          <a:chOff x="0" y="0"/>
          <a:chExt cx="0" cy="0"/>
        </a:xfrm>
      </p:grpSpPr>
      <p:pic>
        <p:nvPicPr>
          <p:cNvPr id="3072" name="Google Shape;3072;p32"/>
          <p:cNvPicPr preferRelativeResize="0"/>
          <p:nvPr/>
        </p:nvPicPr>
        <p:blipFill>
          <a:blip r:embed="rId2">
            <a:alphaModFix amt="58000"/>
          </a:blip>
          <a:stretch>
            <a:fillRect/>
          </a:stretch>
        </p:blipFill>
        <p:spPr>
          <a:xfrm>
            <a:off x="0" y="0"/>
            <a:ext cx="9144003" cy="5143501"/>
          </a:xfrm>
          <a:prstGeom prst="rect">
            <a:avLst/>
          </a:prstGeom>
          <a:noFill/>
          <a:ln>
            <a:noFill/>
          </a:ln>
        </p:spPr>
      </p:pic>
      <p:pic>
        <p:nvPicPr>
          <p:cNvPr id="3073" name="Google Shape;3073;p32"/>
          <p:cNvPicPr preferRelativeResize="0"/>
          <p:nvPr/>
        </p:nvPicPr>
        <p:blipFill>
          <a:blip r:embed="rId3">
            <a:alphaModFix/>
          </a:blip>
          <a:stretch>
            <a:fillRect/>
          </a:stretch>
        </p:blipFill>
        <p:spPr>
          <a:xfrm flipH="1">
            <a:off x="2695575" y="-636207"/>
            <a:ext cx="5295900" cy="2453980"/>
          </a:xfrm>
          <a:prstGeom prst="rect">
            <a:avLst/>
          </a:prstGeom>
          <a:noFill/>
          <a:ln>
            <a:noFill/>
          </a:ln>
        </p:spPr>
      </p:pic>
      <p:pic>
        <p:nvPicPr>
          <p:cNvPr id="3074" name="Google Shape;3074;p32"/>
          <p:cNvPicPr preferRelativeResize="0"/>
          <p:nvPr/>
        </p:nvPicPr>
        <p:blipFill>
          <a:blip r:embed="rId4">
            <a:alphaModFix/>
          </a:blip>
          <a:stretch>
            <a:fillRect/>
          </a:stretch>
        </p:blipFill>
        <p:spPr>
          <a:xfrm flipH="1">
            <a:off x="-1277026" y="3712824"/>
            <a:ext cx="4461351" cy="1925975"/>
          </a:xfrm>
          <a:prstGeom prst="rect">
            <a:avLst/>
          </a:prstGeom>
          <a:noFill/>
          <a:ln>
            <a:noFill/>
          </a:ln>
        </p:spPr>
      </p:pic>
      <p:pic>
        <p:nvPicPr>
          <p:cNvPr id="3075" name="Google Shape;3075;p32"/>
          <p:cNvPicPr preferRelativeResize="0"/>
          <p:nvPr/>
        </p:nvPicPr>
        <p:blipFill>
          <a:blip r:embed="rId5">
            <a:alphaModFix/>
          </a:blip>
          <a:stretch>
            <a:fillRect/>
          </a:stretch>
        </p:blipFill>
        <p:spPr>
          <a:xfrm flipH="1">
            <a:off x="6303663" y="766545"/>
            <a:ext cx="5295899" cy="2856025"/>
          </a:xfrm>
          <a:prstGeom prst="rect">
            <a:avLst/>
          </a:prstGeom>
          <a:noFill/>
          <a:ln>
            <a:noFill/>
          </a:ln>
        </p:spPr>
      </p:pic>
      <p:pic>
        <p:nvPicPr>
          <p:cNvPr id="3076" name="Google Shape;3076;p32"/>
          <p:cNvPicPr preferRelativeResize="0"/>
          <p:nvPr/>
        </p:nvPicPr>
        <p:blipFill>
          <a:blip r:embed="rId6">
            <a:alphaModFix/>
          </a:blip>
          <a:stretch>
            <a:fillRect/>
          </a:stretch>
        </p:blipFill>
        <p:spPr>
          <a:xfrm flipH="1">
            <a:off x="6200100" y="-150427"/>
            <a:ext cx="4248775" cy="2074950"/>
          </a:xfrm>
          <a:prstGeom prst="rect">
            <a:avLst/>
          </a:prstGeom>
          <a:noFill/>
          <a:ln>
            <a:noFill/>
          </a:ln>
        </p:spPr>
      </p:pic>
      <p:grpSp>
        <p:nvGrpSpPr>
          <p:cNvPr id="3077" name="Google Shape;3077;p32"/>
          <p:cNvGrpSpPr/>
          <p:nvPr/>
        </p:nvGrpSpPr>
        <p:grpSpPr>
          <a:xfrm rot="1478259" flipH="1">
            <a:off x="8197565" y="225186"/>
            <a:ext cx="1429879" cy="1600485"/>
            <a:chOff x="4138184" y="930105"/>
            <a:chExt cx="3868174" cy="4329704"/>
          </a:xfrm>
        </p:grpSpPr>
        <p:sp>
          <p:nvSpPr>
            <p:cNvPr id="3078" name="Google Shape;3078;p32"/>
            <p:cNvSpPr/>
            <p:nvPr/>
          </p:nvSpPr>
          <p:spPr>
            <a:xfrm>
              <a:off x="4368726" y="312298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216893">
                <a:alpha val="383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079" name="Google Shape;3079;p32"/>
            <p:cNvGrpSpPr/>
            <p:nvPr/>
          </p:nvGrpSpPr>
          <p:grpSpPr>
            <a:xfrm>
              <a:off x="4138184" y="930105"/>
              <a:ext cx="3868174" cy="3755764"/>
              <a:chOff x="4138184" y="930105"/>
              <a:chExt cx="3868174" cy="3755764"/>
            </a:xfrm>
          </p:grpSpPr>
          <p:sp>
            <p:nvSpPr>
              <p:cNvPr id="3080" name="Google Shape;3080;p32"/>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32"/>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32"/>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32"/>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32"/>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32"/>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32"/>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32"/>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32"/>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32"/>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32"/>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32"/>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32"/>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32"/>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32"/>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32"/>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32"/>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32"/>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32"/>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32"/>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32"/>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32"/>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32"/>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32"/>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32"/>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32"/>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32"/>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32"/>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32"/>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32"/>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32"/>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32"/>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32"/>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32"/>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32"/>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32"/>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32"/>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32"/>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32"/>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32"/>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32"/>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32"/>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32"/>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32"/>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32"/>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32"/>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32"/>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32"/>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32"/>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32"/>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32"/>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32"/>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32"/>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32"/>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32"/>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32"/>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32"/>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32"/>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32"/>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32"/>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32"/>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32"/>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32"/>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32"/>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32"/>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32"/>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32"/>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32"/>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32"/>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32"/>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32"/>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32"/>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32"/>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32"/>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32"/>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32"/>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32"/>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32"/>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32"/>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32"/>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32"/>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32"/>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32"/>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32"/>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32"/>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32"/>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32"/>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32"/>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32"/>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32"/>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32"/>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32"/>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32"/>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32"/>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32"/>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32"/>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32"/>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32"/>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32"/>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32"/>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32"/>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32"/>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32"/>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32"/>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32"/>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32"/>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32"/>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32"/>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32"/>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32"/>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32"/>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32"/>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32"/>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32"/>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32"/>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32"/>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32"/>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32"/>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32"/>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32"/>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32"/>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32"/>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32"/>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32"/>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32"/>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32"/>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32"/>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32"/>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32"/>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32"/>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32"/>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32"/>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32"/>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32"/>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32"/>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215" name="Google Shape;3215;p32"/>
          <p:cNvGrpSpPr/>
          <p:nvPr/>
        </p:nvGrpSpPr>
        <p:grpSpPr>
          <a:xfrm rot="6170894" flipH="1">
            <a:off x="-852305" y="3022104"/>
            <a:ext cx="1896899" cy="1388338"/>
            <a:chOff x="2874822" y="930105"/>
            <a:chExt cx="5131535" cy="3755764"/>
          </a:xfrm>
        </p:grpSpPr>
        <p:sp>
          <p:nvSpPr>
            <p:cNvPr id="3216" name="Google Shape;3216;p32"/>
            <p:cNvSpPr/>
            <p:nvPr/>
          </p:nvSpPr>
          <p:spPr>
            <a:xfrm>
              <a:off x="2874822" y="123737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216893">
                <a:alpha val="383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217" name="Google Shape;3217;p32"/>
            <p:cNvGrpSpPr/>
            <p:nvPr/>
          </p:nvGrpSpPr>
          <p:grpSpPr>
            <a:xfrm>
              <a:off x="4138184" y="930105"/>
              <a:ext cx="3868174" cy="3755764"/>
              <a:chOff x="4138184" y="930105"/>
              <a:chExt cx="3868174" cy="3755764"/>
            </a:xfrm>
          </p:grpSpPr>
          <p:sp>
            <p:nvSpPr>
              <p:cNvPr id="3218" name="Google Shape;3218;p32"/>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32"/>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32"/>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32"/>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32"/>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32"/>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32"/>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32"/>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32"/>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32"/>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32"/>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32"/>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32"/>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32"/>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32"/>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32"/>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32"/>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32"/>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32"/>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32"/>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32"/>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32"/>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32"/>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32"/>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32"/>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32"/>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32"/>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32"/>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32"/>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32"/>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32"/>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32"/>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32"/>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32"/>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32"/>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32"/>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32"/>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32"/>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32"/>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32"/>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32"/>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32"/>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32"/>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32"/>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32"/>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32"/>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32"/>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32"/>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32"/>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32"/>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32"/>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32"/>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32"/>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32"/>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32"/>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32"/>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32"/>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32"/>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32"/>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32"/>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32"/>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32"/>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32"/>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32"/>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32"/>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32"/>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32"/>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32"/>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32"/>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32"/>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32"/>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32"/>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32"/>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32"/>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32"/>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32"/>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32"/>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32"/>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32"/>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32"/>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32"/>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32"/>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32"/>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32"/>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32"/>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32"/>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32"/>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32"/>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32"/>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32"/>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32"/>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32"/>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32"/>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32"/>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32"/>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32"/>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32"/>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32"/>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32"/>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32"/>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32"/>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32"/>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32"/>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32"/>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32"/>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32"/>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32"/>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32"/>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32"/>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32"/>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32"/>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32"/>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32"/>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32"/>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32"/>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32"/>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32"/>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32"/>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32"/>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32"/>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32"/>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32"/>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32"/>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32"/>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32"/>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32"/>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32"/>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32"/>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32"/>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32"/>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32"/>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32"/>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32"/>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32"/>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32"/>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353" name="Google Shape;3353;p32"/>
          <p:cNvSpPr/>
          <p:nvPr/>
        </p:nvSpPr>
        <p:spPr>
          <a:xfrm>
            <a:off x="-152400" y="4276725"/>
            <a:ext cx="8286750" cy="1114425"/>
          </a:xfrm>
          <a:custGeom>
            <a:avLst/>
            <a:gdLst/>
            <a:ahLst/>
            <a:cxnLst/>
            <a:rect l="l" t="t" r="r" b="b"/>
            <a:pathLst>
              <a:path w="331470" h="44577" extrusionOk="0">
                <a:moveTo>
                  <a:pt x="0" y="0"/>
                </a:moveTo>
                <a:cubicBezTo>
                  <a:pt x="5953" y="2381"/>
                  <a:pt x="14516" y="-1867"/>
                  <a:pt x="19050" y="2667"/>
                </a:cubicBezTo>
                <a:cubicBezTo>
                  <a:pt x="25252" y="8869"/>
                  <a:pt x="26697" y="19391"/>
                  <a:pt x="33909" y="24384"/>
                </a:cubicBezTo>
                <a:cubicBezTo>
                  <a:pt x="44970" y="32042"/>
                  <a:pt x="60610" y="31714"/>
                  <a:pt x="73914" y="29718"/>
                </a:cubicBezTo>
                <a:cubicBezTo>
                  <a:pt x="90765" y="27190"/>
                  <a:pt x="106785" y="18669"/>
                  <a:pt x="123825" y="18669"/>
                </a:cubicBezTo>
                <a:cubicBezTo>
                  <a:pt x="129032" y="18669"/>
                  <a:pt x="135941" y="17932"/>
                  <a:pt x="139065" y="22098"/>
                </a:cubicBezTo>
                <a:cubicBezTo>
                  <a:pt x="140608" y="24155"/>
                  <a:pt x="138893" y="28713"/>
                  <a:pt x="136398" y="29337"/>
                </a:cubicBezTo>
                <a:cubicBezTo>
                  <a:pt x="130848" y="30724"/>
                  <a:pt x="124370" y="32657"/>
                  <a:pt x="119253" y="30099"/>
                </a:cubicBezTo>
                <a:cubicBezTo>
                  <a:pt x="117776" y="29361"/>
                  <a:pt x="117879" y="26062"/>
                  <a:pt x="119253" y="25146"/>
                </a:cubicBezTo>
                <a:cubicBezTo>
                  <a:pt x="129595" y="18252"/>
                  <a:pt x="143824" y="19161"/>
                  <a:pt x="156210" y="20193"/>
                </a:cubicBezTo>
                <a:cubicBezTo>
                  <a:pt x="165323" y="20952"/>
                  <a:pt x="174553" y="19564"/>
                  <a:pt x="183642" y="20574"/>
                </a:cubicBezTo>
                <a:cubicBezTo>
                  <a:pt x="202609" y="22681"/>
                  <a:pt x="220988" y="31749"/>
                  <a:pt x="240030" y="30480"/>
                </a:cubicBezTo>
                <a:cubicBezTo>
                  <a:pt x="242434" y="30320"/>
                  <a:pt x="245993" y="30431"/>
                  <a:pt x="246888" y="28194"/>
                </a:cubicBezTo>
                <a:cubicBezTo>
                  <a:pt x="248392" y="24434"/>
                  <a:pt x="242896" y="19623"/>
                  <a:pt x="238887" y="19050"/>
                </a:cubicBezTo>
                <a:cubicBezTo>
                  <a:pt x="235504" y="18567"/>
                  <a:pt x="229509" y="22978"/>
                  <a:pt x="231267" y="25908"/>
                </a:cubicBezTo>
                <a:cubicBezTo>
                  <a:pt x="238544" y="38036"/>
                  <a:pt x="259464" y="23654"/>
                  <a:pt x="273558" y="22479"/>
                </a:cubicBezTo>
                <a:cubicBezTo>
                  <a:pt x="294148" y="20763"/>
                  <a:pt x="312990" y="35337"/>
                  <a:pt x="331470" y="44577"/>
                </a:cubicBezTo>
              </a:path>
            </a:pathLst>
          </a:custGeom>
          <a:noFill/>
          <a:ln w="19050" cap="flat" cmpd="sng">
            <a:solidFill>
              <a:schemeClr val="accent5"/>
            </a:solidFill>
            <a:prstDash val="dash"/>
            <a:round/>
            <a:headEnd type="none" w="med" len="med"/>
            <a:tailEnd type="none" w="med" len="med"/>
          </a:ln>
        </p:spPr>
      </p:sp>
      <p:sp>
        <p:nvSpPr>
          <p:cNvPr id="3354" name="Google Shape;3354;p32"/>
          <p:cNvSpPr/>
          <p:nvPr/>
        </p:nvSpPr>
        <p:spPr>
          <a:xfrm>
            <a:off x="-104775" y="-495300"/>
            <a:ext cx="6229350" cy="916175"/>
          </a:xfrm>
          <a:custGeom>
            <a:avLst/>
            <a:gdLst/>
            <a:ahLst/>
            <a:cxnLst/>
            <a:rect l="l" t="t" r="r" b="b"/>
            <a:pathLst>
              <a:path w="249174" h="36647" extrusionOk="0">
                <a:moveTo>
                  <a:pt x="0" y="26289"/>
                </a:moveTo>
                <a:cubicBezTo>
                  <a:pt x="1675" y="28801"/>
                  <a:pt x="5595" y="28557"/>
                  <a:pt x="8382" y="29718"/>
                </a:cubicBezTo>
                <a:cubicBezTo>
                  <a:pt x="14384" y="32219"/>
                  <a:pt x="20980" y="33103"/>
                  <a:pt x="27432" y="33909"/>
                </a:cubicBezTo>
                <a:cubicBezTo>
                  <a:pt x="55481" y="37415"/>
                  <a:pt x="83747" y="27813"/>
                  <a:pt x="112014" y="27813"/>
                </a:cubicBezTo>
                <a:cubicBezTo>
                  <a:pt x="124771" y="27813"/>
                  <a:pt x="137224" y="36792"/>
                  <a:pt x="149733" y="34290"/>
                </a:cubicBezTo>
                <a:cubicBezTo>
                  <a:pt x="152360" y="33765"/>
                  <a:pt x="152389" y="28183"/>
                  <a:pt x="150495" y="26289"/>
                </a:cubicBezTo>
                <a:cubicBezTo>
                  <a:pt x="148966" y="24760"/>
                  <a:pt x="143051" y="24736"/>
                  <a:pt x="144018" y="26670"/>
                </a:cubicBezTo>
                <a:cubicBezTo>
                  <a:pt x="146407" y="31448"/>
                  <a:pt x="154133" y="30116"/>
                  <a:pt x="159258" y="31623"/>
                </a:cubicBezTo>
                <a:cubicBezTo>
                  <a:pt x="170170" y="34832"/>
                  <a:pt x="182231" y="38558"/>
                  <a:pt x="193167" y="35433"/>
                </a:cubicBezTo>
                <a:cubicBezTo>
                  <a:pt x="202361" y="32806"/>
                  <a:pt x="200703" y="17244"/>
                  <a:pt x="207645" y="10668"/>
                </a:cubicBezTo>
                <a:cubicBezTo>
                  <a:pt x="218021" y="838"/>
                  <a:pt x="234882" y="0"/>
                  <a:pt x="249174" y="0"/>
                </a:cubicBezTo>
              </a:path>
            </a:pathLst>
          </a:custGeom>
          <a:noFill/>
          <a:ln w="19050" cap="flat" cmpd="sng">
            <a:solidFill>
              <a:schemeClr val="accent5"/>
            </a:solidFill>
            <a:prstDash val="dash"/>
            <a:round/>
            <a:headEnd type="none" w="med" len="med"/>
            <a:tailEnd type="none" w="med" len="med"/>
          </a:ln>
        </p:spPr>
      </p:sp>
      <p:sp>
        <p:nvSpPr>
          <p:cNvPr id="3355" name="Google Shape;3355;p32"/>
          <p:cNvSpPr/>
          <p:nvPr/>
        </p:nvSpPr>
        <p:spPr>
          <a:xfrm>
            <a:off x="8543925" y="1704975"/>
            <a:ext cx="953200" cy="2495550"/>
          </a:xfrm>
          <a:custGeom>
            <a:avLst/>
            <a:gdLst/>
            <a:ahLst/>
            <a:cxnLst/>
            <a:rect l="l" t="t" r="r" b="b"/>
            <a:pathLst>
              <a:path w="38128" h="99822" extrusionOk="0">
                <a:moveTo>
                  <a:pt x="36576" y="0"/>
                </a:moveTo>
                <a:cubicBezTo>
                  <a:pt x="43463" y="13775"/>
                  <a:pt x="24512" y="30003"/>
                  <a:pt x="12192" y="39243"/>
                </a:cubicBezTo>
                <a:cubicBezTo>
                  <a:pt x="8927" y="41692"/>
                  <a:pt x="0" y="44468"/>
                  <a:pt x="0" y="40386"/>
                </a:cubicBezTo>
                <a:cubicBezTo>
                  <a:pt x="0" y="36574"/>
                  <a:pt x="2305" y="32185"/>
                  <a:pt x="5715" y="30480"/>
                </a:cubicBezTo>
                <a:cubicBezTo>
                  <a:pt x="8986" y="28845"/>
                  <a:pt x="15285" y="30704"/>
                  <a:pt x="16002" y="34290"/>
                </a:cubicBezTo>
                <a:cubicBezTo>
                  <a:pt x="18563" y="47095"/>
                  <a:pt x="8216" y="60404"/>
                  <a:pt x="11049" y="73152"/>
                </a:cubicBezTo>
                <a:cubicBezTo>
                  <a:pt x="13719" y="85165"/>
                  <a:pt x="27874" y="91120"/>
                  <a:pt x="36576" y="99822"/>
                </a:cubicBezTo>
              </a:path>
            </a:pathLst>
          </a:custGeom>
          <a:noFill/>
          <a:ln w="19050" cap="flat" cmpd="sng">
            <a:solidFill>
              <a:schemeClr val="accent5"/>
            </a:solidFill>
            <a:prstDash val="dash"/>
            <a:round/>
            <a:headEnd type="none" w="med" len="med"/>
            <a:tailEnd type="none" w="med" len="med"/>
          </a:ln>
        </p:spPr>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3225" y="445025"/>
            <a:ext cx="77175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3500"/>
              <a:buFont typeface="Bebas Neue"/>
              <a:buNone/>
              <a:defRPr sz="3500" b="1">
                <a:solidFill>
                  <a:schemeClr val="dk1"/>
                </a:solidFill>
                <a:latin typeface="Bebas Neue"/>
                <a:ea typeface="Bebas Neue"/>
                <a:cs typeface="Bebas Neue"/>
                <a:sym typeface="Bebas Neue"/>
              </a:defRPr>
            </a:lvl1pPr>
            <a:lvl2pPr lvl="1"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2pPr>
            <a:lvl3pPr lvl="2"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3pPr>
            <a:lvl4pPr lvl="3"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4pPr>
            <a:lvl5pPr lvl="4"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5pPr>
            <a:lvl6pPr lvl="5"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6pPr>
            <a:lvl7pPr lvl="6"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7pPr>
            <a:lvl8pPr lvl="7"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8pPr>
            <a:lvl9pPr lvl="8" rtl="0">
              <a:spcBef>
                <a:spcPts val="0"/>
              </a:spcBef>
              <a:spcAft>
                <a:spcPts val="0"/>
              </a:spcAft>
              <a:buClr>
                <a:schemeClr val="dk1"/>
              </a:buClr>
              <a:buSzPts val="3500"/>
              <a:buFont typeface="Bebas Neue"/>
              <a:buNone/>
              <a:defRPr sz="3500">
                <a:solidFill>
                  <a:schemeClr val="dk1"/>
                </a:solidFill>
                <a:latin typeface="Bebas Neue"/>
                <a:ea typeface="Bebas Neue"/>
                <a:cs typeface="Bebas Neue"/>
                <a:sym typeface="Bebas Neue"/>
              </a:defRPr>
            </a:lvl9pPr>
          </a:lstStyle>
          <a:p>
            <a:endParaRPr/>
          </a:p>
        </p:txBody>
      </p:sp>
      <p:sp>
        <p:nvSpPr>
          <p:cNvPr id="7" name="Google Shape;7;p1"/>
          <p:cNvSpPr txBox="1">
            <a:spLocks noGrp="1"/>
          </p:cNvSpPr>
          <p:nvPr>
            <p:ph type="body" idx="1"/>
          </p:nvPr>
        </p:nvSpPr>
        <p:spPr>
          <a:xfrm>
            <a:off x="713225" y="1152475"/>
            <a:ext cx="7717500" cy="3416400"/>
          </a:xfrm>
          <a:prstGeom prst="rect">
            <a:avLst/>
          </a:prstGeom>
          <a:noFill/>
          <a:ln>
            <a:noFill/>
          </a:ln>
        </p:spPr>
        <p:txBody>
          <a:bodyPr spcFirstLastPara="1" wrap="square" lIns="91425" tIns="91425" rIns="91425" bIns="91425" anchor="t" anchorCtr="0">
            <a:noAutofit/>
          </a:bodyPr>
          <a:lstStyle>
            <a:lvl1pPr marL="457200" lvl="0"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1pPr>
            <a:lvl2pPr marL="914400" lvl="1"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2pPr>
            <a:lvl3pPr marL="1371600" lvl="2"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3pPr>
            <a:lvl4pPr marL="1828800" lvl="3"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4pPr>
            <a:lvl5pPr marL="2286000" lvl="4"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5pPr>
            <a:lvl6pPr marL="2743200" lvl="5"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6pPr>
            <a:lvl7pPr marL="3200400" lvl="6"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7pPr>
            <a:lvl8pPr marL="3657600" lvl="7"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8pPr>
            <a:lvl9pPr marL="4114800" lvl="8" indent="-317500">
              <a:lnSpc>
                <a:spcPct val="100000"/>
              </a:lnSpc>
              <a:spcBef>
                <a:spcPts val="0"/>
              </a:spcBef>
              <a:spcAft>
                <a:spcPts val="0"/>
              </a:spcAft>
              <a:buClr>
                <a:schemeClr val="dk1"/>
              </a:buClr>
              <a:buSzPts val="1400"/>
              <a:buFont typeface="Lexend Deca"/>
              <a:buChar char="■"/>
              <a:defRPr>
                <a:solidFill>
                  <a:schemeClr val="dk1"/>
                </a:solidFill>
                <a:latin typeface="Lexend Deca"/>
                <a:ea typeface="Lexend Deca"/>
                <a:cs typeface="Lexend Deca"/>
                <a:sym typeface="Lexend Deca"/>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84" r:id="rId2"/>
    <p:sldLayoutId id="2147483649" r:id="rId3"/>
    <p:sldLayoutId id="2147483676" r:id="rId4"/>
    <p:sldLayoutId id="2147483677" r:id="rId5"/>
    <p:sldLayoutId id="2147483678"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19.png"/><Relationship Id="rId7"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51.svg"/><Relationship Id="rId4" Type="http://schemas.openxmlformats.org/officeDocument/2006/relationships/image" Target="../media/image13.png"/><Relationship Id="rId9" Type="http://schemas.openxmlformats.org/officeDocument/2006/relationships/image" Target="../media/image50.png"/></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2.png"/><Relationship Id="rId7"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svg"/><Relationship Id="rId5" Type="http://schemas.openxmlformats.org/officeDocument/2006/relationships/image" Target="../media/image30.png"/><Relationship Id="rId10" Type="http://schemas.microsoft.com/office/2007/relationships/hdphoto" Target="../media/hdphoto2.wdp"/><Relationship Id="rId4" Type="http://schemas.openxmlformats.org/officeDocument/2006/relationships/image" Target="../media/image53.png"/><Relationship Id="rId9"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30.png"/><Relationship Id="rId3" Type="http://schemas.openxmlformats.org/officeDocument/2006/relationships/image" Target="../media/image54.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60.png"/><Relationship Id="rId5" Type="http://schemas.openxmlformats.org/officeDocument/2006/relationships/image" Target="../media/image19.png"/><Relationship Id="rId10" Type="http://schemas.openxmlformats.org/officeDocument/2006/relationships/image" Target="../media/image59.jpeg"/><Relationship Id="rId4" Type="http://schemas.openxmlformats.org/officeDocument/2006/relationships/image" Target="../media/image55.svg"/><Relationship Id="rId9" Type="http://schemas.openxmlformats.org/officeDocument/2006/relationships/image" Target="../media/image58.png"/><Relationship Id="rId14" Type="http://schemas.openxmlformats.org/officeDocument/2006/relationships/image" Target="../media/image31.svg"/></Relationships>
</file>

<file path=ppt/slides/_rels/slide1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2.png"/><Relationship Id="rId7" Type="http://schemas.microsoft.com/office/2007/relationships/hdphoto" Target="../media/hdphoto5.wdp"/><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13.png"/><Relationship Id="rId10" Type="http://schemas.openxmlformats.org/officeDocument/2006/relationships/image" Target="../media/image31.svg"/><Relationship Id="rId4" Type="http://schemas.openxmlformats.org/officeDocument/2006/relationships/image" Target="../media/image19.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6.png"/><Relationship Id="rId3" Type="http://schemas.openxmlformats.org/officeDocument/2006/relationships/image" Target="../media/image19.png"/><Relationship Id="rId21" Type="http://schemas.openxmlformats.org/officeDocument/2006/relationships/image" Target="../media/image31.svg"/><Relationship Id="rId7" Type="http://schemas.microsoft.com/office/2007/relationships/hdphoto" Target="../media/hdphoto6.wdp"/><Relationship Id="rId12" Type="http://schemas.openxmlformats.org/officeDocument/2006/relationships/image" Target="../media/image71.svg"/><Relationship Id="rId17" Type="http://schemas.openxmlformats.org/officeDocument/2006/relationships/image" Target="../media/image75.jpeg"/><Relationship Id="rId2" Type="http://schemas.openxmlformats.org/officeDocument/2006/relationships/notesSlide" Target="../notesSlides/notesSlide14.xml"/><Relationship Id="rId16" Type="http://schemas.openxmlformats.org/officeDocument/2006/relationships/image" Target="../media/image74.svg"/><Relationship Id="rId20"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66.png"/><Relationship Id="rId11" Type="http://schemas.openxmlformats.org/officeDocument/2006/relationships/image" Target="../media/image70.png"/><Relationship Id="rId5" Type="http://schemas.openxmlformats.org/officeDocument/2006/relationships/image" Target="../media/image65.png"/><Relationship Id="rId15" Type="http://schemas.openxmlformats.org/officeDocument/2006/relationships/image" Target="../media/image73.png"/><Relationship Id="rId10" Type="http://schemas.openxmlformats.org/officeDocument/2006/relationships/image" Target="../media/image69.png"/><Relationship Id="rId19" Type="http://schemas.openxmlformats.org/officeDocument/2006/relationships/image" Target="../media/image77.svg"/><Relationship Id="rId4" Type="http://schemas.openxmlformats.org/officeDocument/2006/relationships/image" Target="../media/image13.png"/><Relationship Id="rId9" Type="http://schemas.openxmlformats.org/officeDocument/2006/relationships/image" Target="../media/image68.svg"/><Relationship Id="rId14" Type="http://schemas.microsoft.com/office/2007/relationships/hdphoto" Target="../media/hdphoto7.wdp"/></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79.svg"/></Relationships>
</file>

<file path=ppt/slides/_rels/slide16.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93.svg"/><Relationship Id="rId26" Type="http://schemas.openxmlformats.org/officeDocument/2006/relationships/image" Target="../media/image101.svg"/><Relationship Id="rId39" Type="http://schemas.openxmlformats.org/officeDocument/2006/relationships/image" Target="../media/image11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17.svg"/><Relationship Id="rId47" Type="http://schemas.openxmlformats.org/officeDocument/2006/relationships/image" Target="../media/image122.png"/><Relationship Id="rId50" Type="http://schemas.openxmlformats.org/officeDocument/2006/relationships/image" Target="../media/image125.svg"/><Relationship Id="rId55" Type="http://schemas.openxmlformats.org/officeDocument/2006/relationships/image" Target="../media/image130.png"/><Relationship Id="rId7" Type="http://schemas.openxmlformats.org/officeDocument/2006/relationships/image" Target="../media/image84.png"/><Relationship Id="rId2" Type="http://schemas.openxmlformats.org/officeDocument/2006/relationships/notesSlide" Target="../notesSlides/notesSlide16.xml"/><Relationship Id="rId16" Type="http://schemas.openxmlformats.org/officeDocument/2006/relationships/image" Target="../media/image19.png"/><Relationship Id="rId29" Type="http://schemas.openxmlformats.org/officeDocument/2006/relationships/image" Target="../media/image104.png"/><Relationship Id="rId11" Type="http://schemas.openxmlformats.org/officeDocument/2006/relationships/image" Target="../media/image88.png"/><Relationship Id="rId24" Type="http://schemas.openxmlformats.org/officeDocument/2006/relationships/image" Target="../media/image99.svg"/><Relationship Id="rId32" Type="http://schemas.openxmlformats.org/officeDocument/2006/relationships/image" Target="../media/image107.svg"/><Relationship Id="rId37" Type="http://schemas.openxmlformats.org/officeDocument/2006/relationships/image" Target="../media/image112.png"/><Relationship Id="rId40" Type="http://schemas.openxmlformats.org/officeDocument/2006/relationships/image" Target="../media/image115.sv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79.svg"/><Relationship Id="rId5" Type="http://schemas.openxmlformats.org/officeDocument/2006/relationships/image" Target="../media/image82.png"/><Relationship Id="rId19" Type="http://schemas.openxmlformats.org/officeDocument/2006/relationships/image" Target="../media/image94.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7.svg"/><Relationship Id="rId27" Type="http://schemas.openxmlformats.org/officeDocument/2006/relationships/image" Target="../media/image102.png"/><Relationship Id="rId30" Type="http://schemas.openxmlformats.org/officeDocument/2006/relationships/image" Target="../media/image105.svg"/><Relationship Id="rId35" Type="http://schemas.openxmlformats.org/officeDocument/2006/relationships/image" Target="../media/image110.png"/><Relationship Id="rId43" Type="http://schemas.openxmlformats.org/officeDocument/2006/relationships/image" Target="../media/image118.png"/><Relationship Id="rId48" Type="http://schemas.openxmlformats.org/officeDocument/2006/relationships/image" Target="../media/image123.svg"/><Relationship Id="rId56" Type="http://schemas.openxmlformats.org/officeDocument/2006/relationships/image" Target="../media/image131.svg"/><Relationship Id="rId8" Type="http://schemas.openxmlformats.org/officeDocument/2006/relationships/image" Target="../media/image85.svg"/><Relationship Id="rId51" Type="http://schemas.openxmlformats.org/officeDocument/2006/relationships/image" Target="../media/image126.png"/><Relationship Id="rId3" Type="http://schemas.openxmlformats.org/officeDocument/2006/relationships/image" Target="../media/image80.png"/><Relationship Id="rId12" Type="http://schemas.openxmlformats.org/officeDocument/2006/relationships/image" Target="../media/image89.svg"/><Relationship Id="rId17" Type="http://schemas.openxmlformats.org/officeDocument/2006/relationships/image" Target="../media/image92.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13.svg"/><Relationship Id="rId46" Type="http://schemas.openxmlformats.org/officeDocument/2006/relationships/image" Target="../media/image121.svg"/><Relationship Id="rId20" Type="http://schemas.openxmlformats.org/officeDocument/2006/relationships/image" Target="../media/image95.svg"/><Relationship Id="rId41" Type="http://schemas.openxmlformats.org/officeDocument/2006/relationships/image" Target="../media/image116.png"/><Relationship Id="rId54" Type="http://schemas.openxmlformats.org/officeDocument/2006/relationships/image" Target="../media/image129.sv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98.png"/><Relationship Id="rId28" Type="http://schemas.openxmlformats.org/officeDocument/2006/relationships/image" Target="../media/image103.svg"/><Relationship Id="rId36" Type="http://schemas.openxmlformats.org/officeDocument/2006/relationships/image" Target="../media/image111.svg"/><Relationship Id="rId49" Type="http://schemas.openxmlformats.org/officeDocument/2006/relationships/image" Target="../media/image124.png"/><Relationship Id="rId57" Type="http://schemas.openxmlformats.org/officeDocument/2006/relationships/image" Target="../media/image78.png"/><Relationship Id="rId10" Type="http://schemas.openxmlformats.org/officeDocument/2006/relationships/image" Target="../media/image87.svg"/><Relationship Id="rId31" Type="http://schemas.openxmlformats.org/officeDocument/2006/relationships/image" Target="../media/image106.png"/><Relationship Id="rId44" Type="http://schemas.openxmlformats.org/officeDocument/2006/relationships/image" Target="../media/image119.svg"/><Relationship Id="rId52" Type="http://schemas.openxmlformats.org/officeDocument/2006/relationships/image" Target="../media/image127.svg"/></Relationships>
</file>

<file path=ppt/slides/_rels/slide17.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93.svg"/><Relationship Id="rId26" Type="http://schemas.openxmlformats.org/officeDocument/2006/relationships/image" Target="../media/image101.svg"/><Relationship Id="rId39" Type="http://schemas.openxmlformats.org/officeDocument/2006/relationships/image" Target="../media/image13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37.svg"/><Relationship Id="rId47" Type="http://schemas.openxmlformats.org/officeDocument/2006/relationships/image" Target="../media/image122.png"/><Relationship Id="rId50" Type="http://schemas.openxmlformats.org/officeDocument/2006/relationships/image" Target="../media/image141.svg"/><Relationship Id="rId55" Type="http://schemas.openxmlformats.org/officeDocument/2006/relationships/image" Target="../media/image130.png"/><Relationship Id="rId7" Type="http://schemas.openxmlformats.org/officeDocument/2006/relationships/image" Target="../media/image84.png"/><Relationship Id="rId2" Type="http://schemas.openxmlformats.org/officeDocument/2006/relationships/notesSlide" Target="../notesSlides/notesSlide17.xml"/><Relationship Id="rId16" Type="http://schemas.openxmlformats.org/officeDocument/2006/relationships/image" Target="../media/image19.png"/><Relationship Id="rId29" Type="http://schemas.openxmlformats.org/officeDocument/2006/relationships/image" Target="../media/image104.png"/><Relationship Id="rId11" Type="http://schemas.openxmlformats.org/officeDocument/2006/relationships/image" Target="../media/image88.png"/><Relationship Id="rId24" Type="http://schemas.openxmlformats.org/officeDocument/2006/relationships/image" Target="../media/image99.svg"/><Relationship Id="rId32" Type="http://schemas.openxmlformats.org/officeDocument/2006/relationships/image" Target="../media/image107.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120.png"/><Relationship Id="rId53" Type="http://schemas.openxmlformats.org/officeDocument/2006/relationships/image" Target="../media/image142.png"/><Relationship Id="rId58" Type="http://schemas.openxmlformats.org/officeDocument/2006/relationships/image" Target="../media/image79.svg"/><Relationship Id="rId5" Type="http://schemas.openxmlformats.org/officeDocument/2006/relationships/image" Target="../media/image82.png"/><Relationship Id="rId19" Type="http://schemas.openxmlformats.org/officeDocument/2006/relationships/image" Target="../media/image94.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7.svg"/><Relationship Id="rId27" Type="http://schemas.openxmlformats.org/officeDocument/2006/relationships/image" Target="../media/image102.png"/><Relationship Id="rId30" Type="http://schemas.openxmlformats.org/officeDocument/2006/relationships/image" Target="../media/image105.svg"/><Relationship Id="rId35" Type="http://schemas.openxmlformats.org/officeDocument/2006/relationships/image" Target="../media/image110.png"/><Relationship Id="rId43" Type="http://schemas.openxmlformats.org/officeDocument/2006/relationships/image" Target="../media/image138.png"/><Relationship Id="rId48" Type="http://schemas.openxmlformats.org/officeDocument/2006/relationships/image" Target="../media/image123.svg"/><Relationship Id="rId56" Type="http://schemas.openxmlformats.org/officeDocument/2006/relationships/image" Target="../media/image131.svg"/><Relationship Id="rId8" Type="http://schemas.openxmlformats.org/officeDocument/2006/relationships/image" Target="../media/image85.svg"/><Relationship Id="rId51" Type="http://schemas.openxmlformats.org/officeDocument/2006/relationships/image" Target="../media/image126.png"/><Relationship Id="rId3" Type="http://schemas.openxmlformats.org/officeDocument/2006/relationships/image" Target="../media/image80.png"/><Relationship Id="rId12" Type="http://schemas.openxmlformats.org/officeDocument/2006/relationships/image" Target="../media/image89.svg"/><Relationship Id="rId17" Type="http://schemas.openxmlformats.org/officeDocument/2006/relationships/image" Target="../media/image92.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33.svg"/><Relationship Id="rId46" Type="http://schemas.openxmlformats.org/officeDocument/2006/relationships/image" Target="../media/image121.svg"/><Relationship Id="rId20" Type="http://schemas.openxmlformats.org/officeDocument/2006/relationships/image" Target="../media/image95.svg"/><Relationship Id="rId41" Type="http://schemas.openxmlformats.org/officeDocument/2006/relationships/image" Target="../media/image136.png"/><Relationship Id="rId54" Type="http://schemas.openxmlformats.org/officeDocument/2006/relationships/image" Target="../media/image143.sv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98.png"/><Relationship Id="rId28" Type="http://schemas.openxmlformats.org/officeDocument/2006/relationships/image" Target="../media/image103.svg"/><Relationship Id="rId36" Type="http://schemas.openxmlformats.org/officeDocument/2006/relationships/image" Target="../media/image111.svg"/><Relationship Id="rId49" Type="http://schemas.openxmlformats.org/officeDocument/2006/relationships/image" Target="../media/image140.png"/><Relationship Id="rId57" Type="http://schemas.openxmlformats.org/officeDocument/2006/relationships/image" Target="../media/image78.png"/><Relationship Id="rId10" Type="http://schemas.openxmlformats.org/officeDocument/2006/relationships/image" Target="../media/image87.svg"/><Relationship Id="rId31" Type="http://schemas.openxmlformats.org/officeDocument/2006/relationships/image" Target="../media/image106.png"/><Relationship Id="rId44" Type="http://schemas.openxmlformats.org/officeDocument/2006/relationships/image" Target="../media/image139.svg"/><Relationship Id="rId52" Type="http://schemas.openxmlformats.org/officeDocument/2006/relationships/image" Target="../media/image127.svg"/></Relationships>
</file>

<file path=ppt/slides/_rels/slide18.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151.svg"/><Relationship Id="rId26" Type="http://schemas.openxmlformats.org/officeDocument/2006/relationships/image" Target="../media/image159.svg"/><Relationship Id="rId39" Type="http://schemas.openxmlformats.org/officeDocument/2006/relationships/image" Target="../media/image134.png"/><Relationship Id="rId21" Type="http://schemas.openxmlformats.org/officeDocument/2006/relationships/image" Target="../media/image154.png"/><Relationship Id="rId34" Type="http://schemas.openxmlformats.org/officeDocument/2006/relationships/image" Target="../media/image165.svg"/><Relationship Id="rId42" Type="http://schemas.openxmlformats.org/officeDocument/2006/relationships/image" Target="../media/image137.svg"/><Relationship Id="rId47" Type="http://schemas.openxmlformats.org/officeDocument/2006/relationships/image" Target="../media/image140.png"/><Relationship Id="rId50" Type="http://schemas.openxmlformats.org/officeDocument/2006/relationships/image" Target="../media/image169.svg"/><Relationship Id="rId55" Type="http://schemas.openxmlformats.org/officeDocument/2006/relationships/image" Target="../media/image78.png"/><Relationship Id="rId7" Type="http://schemas.openxmlformats.org/officeDocument/2006/relationships/image" Target="../media/image148.png"/><Relationship Id="rId2" Type="http://schemas.openxmlformats.org/officeDocument/2006/relationships/notesSlide" Target="../notesSlides/notesSlide18.xml"/><Relationship Id="rId16" Type="http://schemas.openxmlformats.org/officeDocument/2006/relationships/image" Target="../media/image19.png"/><Relationship Id="rId29" Type="http://schemas.openxmlformats.org/officeDocument/2006/relationships/image" Target="../media/image160.png"/><Relationship Id="rId11" Type="http://schemas.openxmlformats.org/officeDocument/2006/relationships/image" Target="../media/image88.png"/><Relationship Id="rId24" Type="http://schemas.openxmlformats.org/officeDocument/2006/relationships/image" Target="../media/image157.svg"/><Relationship Id="rId32" Type="http://schemas.openxmlformats.org/officeDocument/2006/relationships/image" Target="../media/image163.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166.png"/><Relationship Id="rId53" Type="http://schemas.openxmlformats.org/officeDocument/2006/relationships/image" Target="../media/image170.png"/><Relationship Id="rId5" Type="http://schemas.openxmlformats.org/officeDocument/2006/relationships/image" Target="../media/image146.png"/><Relationship Id="rId10" Type="http://schemas.openxmlformats.org/officeDocument/2006/relationships/image" Target="../media/image87.svg"/><Relationship Id="rId19" Type="http://schemas.openxmlformats.org/officeDocument/2006/relationships/image" Target="../media/image152.png"/><Relationship Id="rId31" Type="http://schemas.openxmlformats.org/officeDocument/2006/relationships/image" Target="../media/image162.png"/><Relationship Id="rId44" Type="http://schemas.openxmlformats.org/officeDocument/2006/relationships/image" Target="../media/image139.svg"/><Relationship Id="rId52" Type="http://schemas.openxmlformats.org/officeDocument/2006/relationships/image" Target="../media/image143.svg"/><Relationship Id="rId4" Type="http://schemas.openxmlformats.org/officeDocument/2006/relationships/image" Target="../media/image145.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155.svg"/><Relationship Id="rId27" Type="http://schemas.openxmlformats.org/officeDocument/2006/relationships/image" Target="../media/image102.png"/><Relationship Id="rId30" Type="http://schemas.openxmlformats.org/officeDocument/2006/relationships/image" Target="../media/image161.svg"/><Relationship Id="rId35" Type="http://schemas.openxmlformats.org/officeDocument/2006/relationships/image" Target="../media/image110.png"/><Relationship Id="rId43" Type="http://schemas.openxmlformats.org/officeDocument/2006/relationships/image" Target="../media/image138.png"/><Relationship Id="rId48" Type="http://schemas.openxmlformats.org/officeDocument/2006/relationships/image" Target="../media/image141.svg"/><Relationship Id="rId56" Type="http://schemas.openxmlformats.org/officeDocument/2006/relationships/image" Target="../media/image79.svg"/><Relationship Id="rId8" Type="http://schemas.openxmlformats.org/officeDocument/2006/relationships/image" Target="../media/image149.svg"/><Relationship Id="rId51" Type="http://schemas.openxmlformats.org/officeDocument/2006/relationships/image" Target="../media/image142.png"/><Relationship Id="rId3" Type="http://schemas.openxmlformats.org/officeDocument/2006/relationships/image" Target="../media/image144.png"/><Relationship Id="rId12" Type="http://schemas.openxmlformats.org/officeDocument/2006/relationships/image" Target="../media/image89.svg"/><Relationship Id="rId17" Type="http://schemas.openxmlformats.org/officeDocument/2006/relationships/image" Target="../media/image150.png"/><Relationship Id="rId25" Type="http://schemas.openxmlformats.org/officeDocument/2006/relationships/image" Target="../media/image158.png"/><Relationship Id="rId33" Type="http://schemas.openxmlformats.org/officeDocument/2006/relationships/image" Target="../media/image164.png"/><Relationship Id="rId38" Type="http://schemas.openxmlformats.org/officeDocument/2006/relationships/image" Target="../media/image133.svg"/><Relationship Id="rId46" Type="http://schemas.openxmlformats.org/officeDocument/2006/relationships/image" Target="../media/image167.svg"/><Relationship Id="rId20" Type="http://schemas.openxmlformats.org/officeDocument/2006/relationships/image" Target="../media/image153.svg"/><Relationship Id="rId41" Type="http://schemas.openxmlformats.org/officeDocument/2006/relationships/image" Target="../media/image136.png"/><Relationship Id="rId54" Type="http://schemas.openxmlformats.org/officeDocument/2006/relationships/image" Target="../media/image171.svg"/><Relationship Id="rId1" Type="http://schemas.openxmlformats.org/officeDocument/2006/relationships/slideLayout" Target="../slideLayouts/slideLayout2.xml"/><Relationship Id="rId6" Type="http://schemas.openxmlformats.org/officeDocument/2006/relationships/image" Target="../media/image147.svg"/><Relationship Id="rId15" Type="http://schemas.openxmlformats.org/officeDocument/2006/relationships/image" Target="../media/image13.png"/><Relationship Id="rId23" Type="http://schemas.openxmlformats.org/officeDocument/2006/relationships/image" Target="../media/image156.png"/><Relationship Id="rId28" Type="http://schemas.openxmlformats.org/officeDocument/2006/relationships/image" Target="../media/image103.svg"/><Relationship Id="rId36" Type="http://schemas.openxmlformats.org/officeDocument/2006/relationships/image" Target="../media/image111.svg"/><Relationship Id="rId49" Type="http://schemas.openxmlformats.org/officeDocument/2006/relationships/image" Target="../media/image168.png"/></Relationships>
</file>

<file path=ppt/slides/_rels/slide19.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172.svg"/><Relationship Id="rId26" Type="http://schemas.openxmlformats.org/officeDocument/2006/relationships/image" Target="../media/image101.svg"/><Relationship Id="rId39" Type="http://schemas.openxmlformats.org/officeDocument/2006/relationships/image" Target="../media/image13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37.svg"/><Relationship Id="rId47" Type="http://schemas.openxmlformats.org/officeDocument/2006/relationships/image" Target="../media/image176.svg"/><Relationship Id="rId50" Type="http://schemas.openxmlformats.org/officeDocument/2006/relationships/image" Target="../media/image168.png"/><Relationship Id="rId55" Type="http://schemas.openxmlformats.org/officeDocument/2006/relationships/image" Target="../media/image131.svg"/><Relationship Id="rId7" Type="http://schemas.openxmlformats.org/officeDocument/2006/relationships/image" Target="../media/image84.png"/><Relationship Id="rId2" Type="http://schemas.openxmlformats.org/officeDocument/2006/relationships/notesSlide" Target="../notesSlides/notesSlide19.xml"/><Relationship Id="rId16" Type="http://schemas.openxmlformats.org/officeDocument/2006/relationships/image" Target="../media/image19.png"/><Relationship Id="rId29" Type="http://schemas.openxmlformats.org/officeDocument/2006/relationships/image" Target="../media/image160.png"/><Relationship Id="rId11" Type="http://schemas.openxmlformats.org/officeDocument/2006/relationships/image" Target="../media/image88.png"/><Relationship Id="rId24" Type="http://schemas.openxmlformats.org/officeDocument/2006/relationships/image" Target="../media/image174.svg"/><Relationship Id="rId32" Type="http://schemas.openxmlformats.org/officeDocument/2006/relationships/image" Target="../media/image163.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175.svg"/><Relationship Id="rId53" Type="http://schemas.openxmlformats.org/officeDocument/2006/relationships/image" Target="../media/image143.svg"/><Relationship Id="rId5" Type="http://schemas.openxmlformats.org/officeDocument/2006/relationships/image" Target="../media/image82.png"/><Relationship Id="rId19" Type="http://schemas.openxmlformats.org/officeDocument/2006/relationships/image" Target="../media/image152.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7.svg"/><Relationship Id="rId27" Type="http://schemas.openxmlformats.org/officeDocument/2006/relationships/image" Target="../media/image102.png"/><Relationship Id="rId30" Type="http://schemas.openxmlformats.org/officeDocument/2006/relationships/image" Target="../media/image161.svg"/><Relationship Id="rId35" Type="http://schemas.openxmlformats.org/officeDocument/2006/relationships/image" Target="../media/image110.png"/><Relationship Id="rId43" Type="http://schemas.openxmlformats.org/officeDocument/2006/relationships/image" Target="../media/image138.png"/><Relationship Id="rId48" Type="http://schemas.openxmlformats.org/officeDocument/2006/relationships/image" Target="../media/image140.png"/><Relationship Id="rId56" Type="http://schemas.openxmlformats.org/officeDocument/2006/relationships/image" Target="../media/image78.png"/><Relationship Id="rId8" Type="http://schemas.openxmlformats.org/officeDocument/2006/relationships/image" Target="../media/image85.svg"/><Relationship Id="rId51" Type="http://schemas.openxmlformats.org/officeDocument/2006/relationships/image" Target="../media/image177.svg"/><Relationship Id="rId3" Type="http://schemas.openxmlformats.org/officeDocument/2006/relationships/image" Target="../media/image80.png"/><Relationship Id="rId12" Type="http://schemas.openxmlformats.org/officeDocument/2006/relationships/image" Target="../media/image89.svg"/><Relationship Id="rId17" Type="http://schemas.openxmlformats.org/officeDocument/2006/relationships/image" Target="../media/image150.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33.svg"/><Relationship Id="rId46" Type="http://schemas.openxmlformats.org/officeDocument/2006/relationships/image" Target="../media/image166.png"/><Relationship Id="rId20" Type="http://schemas.openxmlformats.org/officeDocument/2006/relationships/image" Target="../media/image173.svg"/><Relationship Id="rId41" Type="http://schemas.openxmlformats.org/officeDocument/2006/relationships/image" Target="../media/image136.png"/><Relationship Id="rId54" Type="http://schemas.openxmlformats.org/officeDocument/2006/relationships/image" Target="../media/image130.pn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156.png"/><Relationship Id="rId28" Type="http://schemas.openxmlformats.org/officeDocument/2006/relationships/image" Target="../media/image103.svg"/><Relationship Id="rId36" Type="http://schemas.openxmlformats.org/officeDocument/2006/relationships/image" Target="../media/image111.svg"/><Relationship Id="rId49" Type="http://schemas.openxmlformats.org/officeDocument/2006/relationships/image" Target="../media/image141.svg"/><Relationship Id="rId57" Type="http://schemas.openxmlformats.org/officeDocument/2006/relationships/image" Target="../media/image79.svg"/><Relationship Id="rId10" Type="http://schemas.openxmlformats.org/officeDocument/2006/relationships/image" Target="../media/image87.svg"/><Relationship Id="rId31" Type="http://schemas.openxmlformats.org/officeDocument/2006/relationships/image" Target="../media/image162.png"/><Relationship Id="rId44" Type="http://schemas.openxmlformats.org/officeDocument/2006/relationships/image" Target="../media/image139.svg"/><Relationship Id="rId52" Type="http://schemas.openxmlformats.org/officeDocument/2006/relationships/image" Target="../media/image1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172.svg"/><Relationship Id="rId26" Type="http://schemas.openxmlformats.org/officeDocument/2006/relationships/image" Target="../media/image101.svg"/><Relationship Id="rId39" Type="http://schemas.openxmlformats.org/officeDocument/2006/relationships/image" Target="../media/image13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37.svg"/><Relationship Id="rId47" Type="http://schemas.openxmlformats.org/officeDocument/2006/relationships/image" Target="../media/image175.svg"/><Relationship Id="rId50" Type="http://schemas.openxmlformats.org/officeDocument/2006/relationships/image" Target="../media/image140.png"/><Relationship Id="rId55" Type="http://schemas.openxmlformats.org/officeDocument/2006/relationships/image" Target="../media/image143.svg"/><Relationship Id="rId7" Type="http://schemas.openxmlformats.org/officeDocument/2006/relationships/image" Target="../media/image84.png"/><Relationship Id="rId2" Type="http://schemas.openxmlformats.org/officeDocument/2006/relationships/notesSlide" Target="../notesSlides/notesSlide20.xml"/><Relationship Id="rId16" Type="http://schemas.openxmlformats.org/officeDocument/2006/relationships/image" Target="../media/image19.png"/><Relationship Id="rId29" Type="http://schemas.openxmlformats.org/officeDocument/2006/relationships/image" Target="../media/image104.png"/><Relationship Id="rId11" Type="http://schemas.openxmlformats.org/officeDocument/2006/relationships/image" Target="../media/image88.png"/><Relationship Id="rId24" Type="http://schemas.openxmlformats.org/officeDocument/2006/relationships/image" Target="../media/image174.svg"/><Relationship Id="rId32" Type="http://schemas.openxmlformats.org/officeDocument/2006/relationships/image" Target="../media/image107.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138.png"/><Relationship Id="rId53" Type="http://schemas.openxmlformats.org/officeDocument/2006/relationships/image" Target="../media/image177.svg"/><Relationship Id="rId5" Type="http://schemas.openxmlformats.org/officeDocument/2006/relationships/image" Target="../media/image82.png"/><Relationship Id="rId19" Type="http://schemas.openxmlformats.org/officeDocument/2006/relationships/image" Target="../media/image152.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7.svg"/><Relationship Id="rId27" Type="http://schemas.openxmlformats.org/officeDocument/2006/relationships/image" Target="../media/image102.png"/><Relationship Id="rId30" Type="http://schemas.openxmlformats.org/officeDocument/2006/relationships/image" Target="../media/image178.svg"/><Relationship Id="rId35" Type="http://schemas.openxmlformats.org/officeDocument/2006/relationships/image" Target="../media/image110.png"/><Relationship Id="rId43" Type="http://schemas.openxmlformats.org/officeDocument/2006/relationships/image" Target="../media/image170.png"/><Relationship Id="rId48" Type="http://schemas.openxmlformats.org/officeDocument/2006/relationships/image" Target="../media/image166.png"/><Relationship Id="rId56" Type="http://schemas.openxmlformats.org/officeDocument/2006/relationships/image" Target="../media/image78.png"/><Relationship Id="rId8" Type="http://schemas.openxmlformats.org/officeDocument/2006/relationships/image" Target="../media/image85.svg"/><Relationship Id="rId51" Type="http://schemas.openxmlformats.org/officeDocument/2006/relationships/image" Target="../media/image141.svg"/><Relationship Id="rId3" Type="http://schemas.openxmlformats.org/officeDocument/2006/relationships/image" Target="../media/image80.png"/><Relationship Id="rId12" Type="http://schemas.openxmlformats.org/officeDocument/2006/relationships/image" Target="../media/image89.svg"/><Relationship Id="rId17" Type="http://schemas.openxmlformats.org/officeDocument/2006/relationships/image" Target="../media/image150.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33.svg"/><Relationship Id="rId46" Type="http://schemas.openxmlformats.org/officeDocument/2006/relationships/image" Target="../media/image139.svg"/><Relationship Id="rId20" Type="http://schemas.openxmlformats.org/officeDocument/2006/relationships/image" Target="../media/image173.svg"/><Relationship Id="rId41" Type="http://schemas.openxmlformats.org/officeDocument/2006/relationships/image" Target="../media/image136.png"/><Relationship Id="rId54" Type="http://schemas.openxmlformats.org/officeDocument/2006/relationships/image" Target="../media/image142.pn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156.png"/><Relationship Id="rId28" Type="http://schemas.openxmlformats.org/officeDocument/2006/relationships/image" Target="../media/image103.svg"/><Relationship Id="rId36" Type="http://schemas.openxmlformats.org/officeDocument/2006/relationships/image" Target="../media/image111.svg"/><Relationship Id="rId49" Type="http://schemas.openxmlformats.org/officeDocument/2006/relationships/image" Target="../media/image176.svg"/><Relationship Id="rId57" Type="http://schemas.openxmlformats.org/officeDocument/2006/relationships/image" Target="../media/image79.svg"/><Relationship Id="rId10" Type="http://schemas.openxmlformats.org/officeDocument/2006/relationships/image" Target="../media/image87.svg"/><Relationship Id="rId31" Type="http://schemas.openxmlformats.org/officeDocument/2006/relationships/image" Target="../media/image106.png"/><Relationship Id="rId44" Type="http://schemas.openxmlformats.org/officeDocument/2006/relationships/image" Target="../media/image171.svg"/><Relationship Id="rId52" Type="http://schemas.openxmlformats.org/officeDocument/2006/relationships/image" Target="../media/image168.png"/></Relationships>
</file>

<file path=ppt/slides/_rels/slide21.xml.rels><?xml version="1.0" encoding="UTF-8" standalone="yes"?>
<Relationships xmlns="http://schemas.openxmlformats.org/package/2006/relationships"><Relationship Id="rId13" Type="http://schemas.openxmlformats.org/officeDocument/2006/relationships/image" Target="../media/image120.png"/><Relationship Id="rId18" Type="http://schemas.openxmlformats.org/officeDocument/2006/relationships/image" Target="../media/image93.svg"/><Relationship Id="rId26" Type="http://schemas.openxmlformats.org/officeDocument/2006/relationships/image" Target="../media/image101.svg"/><Relationship Id="rId39" Type="http://schemas.openxmlformats.org/officeDocument/2006/relationships/image" Target="../media/image13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37.svg"/><Relationship Id="rId47" Type="http://schemas.openxmlformats.org/officeDocument/2006/relationships/image" Target="../media/image166.png"/><Relationship Id="rId50" Type="http://schemas.openxmlformats.org/officeDocument/2006/relationships/image" Target="../media/image141.svg"/><Relationship Id="rId55" Type="http://schemas.openxmlformats.org/officeDocument/2006/relationships/image" Target="../media/image130.png"/><Relationship Id="rId7" Type="http://schemas.openxmlformats.org/officeDocument/2006/relationships/image" Target="../media/image84.png"/><Relationship Id="rId2" Type="http://schemas.openxmlformats.org/officeDocument/2006/relationships/notesSlide" Target="../notesSlides/notesSlide21.xml"/><Relationship Id="rId16" Type="http://schemas.openxmlformats.org/officeDocument/2006/relationships/image" Target="../media/image19.png"/><Relationship Id="rId29" Type="http://schemas.openxmlformats.org/officeDocument/2006/relationships/image" Target="../media/image104.png"/><Relationship Id="rId11" Type="http://schemas.openxmlformats.org/officeDocument/2006/relationships/image" Target="../media/image181.png"/><Relationship Id="rId24" Type="http://schemas.openxmlformats.org/officeDocument/2006/relationships/image" Target="../media/image157.svg"/><Relationship Id="rId32" Type="http://schemas.openxmlformats.org/officeDocument/2006/relationships/image" Target="../media/image107.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90.png"/><Relationship Id="rId53" Type="http://schemas.openxmlformats.org/officeDocument/2006/relationships/image" Target="../media/image142.png"/><Relationship Id="rId58" Type="http://schemas.openxmlformats.org/officeDocument/2006/relationships/image" Target="../media/image79.svg"/><Relationship Id="rId5" Type="http://schemas.openxmlformats.org/officeDocument/2006/relationships/image" Target="../media/image82.png"/><Relationship Id="rId19" Type="http://schemas.openxmlformats.org/officeDocument/2006/relationships/image" Target="../media/image94.png"/><Relationship Id="rId4" Type="http://schemas.openxmlformats.org/officeDocument/2006/relationships/image" Target="../media/image81.svg"/><Relationship Id="rId9" Type="http://schemas.openxmlformats.org/officeDocument/2006/relationships/image" Target="../media/image179.png"/><Relationship Id="rId14" Type="http://schemas.openxmlformats.org/officeDocument/2006/relationships/image" Target="../media/image121.svg"/><Relationship Id="rId22" Type="http://schemas.openxmlformats.org/officeDocument/2006/relationships/image" Target="../media/image97.svg"/><Relationship Id="rId27" Type="http://schemas.openxmlformats.org/officeDocument/2006/relationships/image" Target="../media/image183.png"/><Relationship Id="rId30" Type="http://schemas.openxmlformats.org/officeDocument/2006/relationships/image" Target="../media/image105.svg"/><Relationship Id="rId35" Type="http://schemas.openxmlformats.org/officeDocument/2006/relationships/image" Target="../media/image185.png"/><Relationship Id="rId43" Type="http://schemas.openxmlformats.org/officeDocument/2006/relationships/image" Target="../media/image138.png"/><Relationship Id="rId48" Type="http://schemas.openxmlformats.org/officeDocument/2006/relationships/image" Target="../media/image167.svg"/><Relationship Id="rId56" Type="http://schemas.openxmlformats.org/officeDocument/2006/relationships/image" Target="../media/image131.svg"/><Relationship Id="rId8" Type="http://schemas.openxmlformats.org/officeDocument/2006/relationships/image" Target="../media/image85.svg"/><Relationship Id="rId51" Type="http://schemas.openxmlformats.org/officeDocument/2006/relationships/image" Target="../media/image168.png"/><Relationship Id="rId3" Type="http://schemas.openxmlformats.org/officeDocument/2006/relationships/image" Target="../media/image80.png"/><Relationship Id="rId12" Type="http://schemas.openxmlformats.org/officeDocument/2006/relationships/image" Target="../media/image182.svg"/><Relationship Id="rId17" Type="http://schemas.openxmlformats.org/officeDocument/2006/relationships/image" Target="../media/image92.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33.svg"/><Relationship Id="rId46" Type="http://schemas.openxmlformats.org/officeDocument/2006/relationships/image" Target="../media/image91.svg"/><Relationship Id="rId20" Type="http://schemas.openxmlformats.org/officeDocument/2006/relationships/image" Target="../media/image95.svg"/><Relationship Id="rId41" Type="http://schemas.openxmlformats.org/officeDocument/2006/relationships/image" Target="../media/image136.png"/><Relationship Id="rId54" Type="http://schemas.openxmlformats.org/officeDocument/2006/relationships/image" Target="../media/image143.sv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156.png"/><Relationship Id="rId28" Type="http://schemas.openxmlformats.org/officeDocument/2006/relationships/image" Target="../media/image184.svg"/><Relationship Id="rId36" Type="http://schemas.openxmlformats.org/officeDocument/2006/relationships/image" Target="../media/image186.svg"/><Relationship Id="rId49" Type="http://schemas.openxmlformats.org/officeDocument/2006/relationships/image" Target="../media/image140.png"/><Relationship Id="rId57" Type="http://schemas.openxmlformats.org/officeDocument/2006/relationships/image" Target="../media/image78.png"/><Relationship Id="rId10" Type="http://schemas.openxmlformats.org/officeDocument/2006/relationships/image" Target="../media/image180.svg"/><Relationship Id="rId31" Type="http://schemas.openxmlformats.org/officeDocument/2006/relationships/image" Target="../media/image106.png"/><Relationship Id="rId44" Type="http://schemas.openxmlformats.org/officeDocument/2006/relationships/image" Target="../media/image139.svg"/><Relationship Id="rId52" Type="http://schemas.openxmlformats.org/officeDocument/2006/relationships/image" Target="../media/image169.svg"/></Relationships>
</file>

<file path=ppt/slides/_rels/slide22.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187.svg"/><Relationship Id="rId26" Type="http://schemas.openxmlformats.org/officeDocument/2006/relationships/image" Target="../media/image101.svg"/><Relationship Id="rId39" Type="http://schemas.openxmlformats.org/officeDocument/2006/relationships/image" Target="../media/image134.png"/><Relationship Id="rId21" Type="http://schemas.openxmlformats.org/officeDocument/2006/relationships/image" Target="../media/image96.png"/><Relationship Id="rId34" Type="http://schemas.openxmlformats.org/officeDocument/2006/relationships/image" Target="../media/image109.svg"/><Relationship Id="rId42" Type="http://schemas.openxmlformats.org/officeDocument/2006/relationships/image" Target="../media/image137.svg"/><Relationship Id="rId47" Type="http://schemas.openxmlformats.org/officeDocument/2006/relationships/image" Target="../media/image175.svg"/><Relationship Id="rId50" Type="http://schemas.openxmlformats.org/officeDocument/2006/relationships/image" Target="../media/image140.png"/><Relationship Id="rId55" Type="http://schemas.openxmlformats.org/officeDocument/2006/relationships/image" Target="../media/image143.svg"/><Relationship Id="rId7" Type="http://schemas.openxmlformats.org/officeDocument/2006/relationships/image" Target="../media/image84.png"/><Relationship Id="rId2" Type="http://schemas.openxmlformats.org/officeDocument/2006/relationships/notesSlide" Target="../notesSlides/notesSlide22.xml"/><Relationship Id="rId16" Type="http://schemas.openxmlformats.org/officeDocument/2006/relationships/image" Target="../media/image19.png"/><Relationship Id="rId29" Type="http://schemas.openxmlformats.org/officeDocument/2006/relationships/image" Target="../media/image104.png"/><Relationship Id="rId11" Type="http://schemas.openxmlformats.org/officeDocument/2006/relationships/image" Target="../media/image88.png"/><Relationship Id="rId24" Type="http://schemas.openxmlformats.org/officeDocument/2006/relationships/image" Target="../media/image174.svg"/><Relationship Id="rId32" Type="http://schemas.openxmlformats.org/officeDocument/2006/relationships/image" Target="../media/image107.svg"/><Relationship Id="rId37" Type="http://schemas.openxmlformats.org/officeDocument/2006/relationships/image" Target="../media/image132.png"/><Relationship Id="rId40" Type="http://schemas.openxmlformats.org/officeDocument/2006/relationships/image" Target="../media/image135.svg"/><Relationship Id="rId45" Type="http://schemas.openxmlformats.org/officeDocument/2006/relationships/image" Target="../media/image138.png"/><Relationship Id="rId53" Type="http://schemas.openxmlformats.org/officeDocument/2006/relationships/image" Target="../media/image177.svg"/><Relationship Id="rId58" Type="http://schemas.openxmlformats.org/officeDocument/2006/relationships/image" Target="../media/image78.png"/><Relationship Id="rId5" Type="http://schemas.openxmlformats.org/officeDocument/2006/relationships/image" Target="../media/image82.png"/><Relationship Id="rId19" Type="http://schemas.openxmlformats.org/officeDocument/2006/relationships/image" Target="../media/image94.pn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7.svg"/><Relationship Id="rId27" Type="http://schemas.openxmlformats.org/officeDocument/2006/relationships/image" Target="../media/image183.png"/><Relationship Id="rId30" Type="http://schemas.openxmlformats.org/officeDocument/2006/relationships/image" Target="../media/image178.svg"/><Relationship Id="rId35" Type="http://schemas.openxmlformats.org/officeDocument/2006/relationships/image" Target="../media/image185.png"/><Relationship Id="rId43" Type="http://schemas.openxmlformats.org/officeDocument/2006/relationships/image" Target="../media/image130.png"/><Relationship Id="rId48" Type="http://schemas.openxmlformats.org/officeDocument/2006/relationships/image" Target="../media/image166.png"/><Relationship Id="rId56" Type="http://schemas.openxmlformats.org/officeDocument/2006/relationships/image" Target="../media/image102.png"/><Relationship Id="rId8" Type="http://schemas.openxmlformats.org/officeDocument/2006/relationships/image" Target="../media/image85.svg"/><Relationship Id="rId51" Type="http://schemas.openxmlformats.org/officeDocument/2006/relationships/image" Target="../media/image141.svg"/><Relationship Id="rId3" Type="http://schemas.openxmlformats.org/officeDocument/2006/relationships/image" Target="../media/image80.png"/><Relationship Id="rId12" Type="http://schemas.openxmlformats.org/officeDocument/2006/relationships/image" Target="../media/image89.svg"/><Relationship Id="rId17" Type="http://schemas.openxmlformats.org/officeDocument/2006/relationships/image" Target="../media/image92.png"/><Relationship Id="rId25" Type="http://schemas.openxmlformats.org/officeDocument/2006/relationships/image" Target="../media/image100.png"/><Relationship Id="rId33" Type="http://schemas.openxmlformats.org/officeDocument/2006/relationships/image" Target="../media/image108.png"/><Relationship Id="rId38" Type="http://schemas.openxmlformats.org/officeDocument/2006/relationships/image" Target="../media/image133.svg"/><Relationship Id="rId46" Type="http://schemas.openxmlformats.org/officeDocument/2006/relationships/image" Target="../media/image139.svg"/><Relationship Id="rId59" Type="http://schemas.openxmlformats.org/officeDocument/2006/relationships/image" Target="../media/image79.svg"/><Relationship Id="rId20" Type="http://schemas.openxmlformats.org/officeDocument/2006/relationships/image" Target="../media/image188.svg"/><Relationship Id="rId41" Type="http://schemas.openxmlformats.org/officeDocument/2006/relationships/image" Target="../media/image136.png"/><Relationship Id="rId54" Type="http://schemas.openxmlformats.org/officeDocument/2006/relationships/image" Target="../media/image142.png"/><Relationship Id="rId1" Type="http://schemas.openxmlformats.org/officeDocument/2006/relationships/slideLayout" Target="../slideLayouts/slideLayout2.xml"/><Relationship Id="rId6" Type="http://schemas.openxmlformats.org/officeDocument/2006/relationships/image" Target="../media/image83.svg"/><Relationship Id="rId15" Type="http://schemas.openxmlformats.org/officeDocument/2006/relationships/image" Target="../media/image13.png"/><Relationship Id="rId23" Type="http://schemas.openxmlformats.org/officeDocument/2006/relationships/image" Target="../media/image156.png"/><Relationship Id="rId28" Type="http://schemas.openxmlformats.org/officeDocument/2006/relationships/image" Target="../media/image189.svg"/><Relationship Id="rId36" Type="http://schemas.openxmlformats.org/officeDocument/2006/relationships/image" Target="../media/image190.svg"/><Relationship Id="rId49" Type="http://schemas.openxmlformats.org/officeDocument/2006/relationships/image" Target="../media/image176.svg"/><Relationship Id="rId57" Type="http://schemas.openxmlformats.org/officeDocument/2006/relationships/image" Target="../media/image103.svg"/><Relationship Id="rId10" Type="http://schemas.openxmlformats.org/officeDocument/2006/relationships/image" Target="../media/image87.svg"/><Relationship Id="rId31" Type="http://schemas.openxmlformats.org/officeDocument/2006/relationships/image" Target="../media/image106.png"/><Relationship Id="rId44" Type="http://schemas.openxmlformats.org/officeDocument/2006/relationships/image" Target="../media/image131.svg"/><Relationship Id="rId52" Type="http://schemas.openxmlformats.org/officeDocument/2006/relationships/image" Target="../media/image168.png"/></Relationships>
</file>

<file path=ppt/slides/_rels/slide2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78.png"/><Relationship Id="rId7" Type="http://schemas.openxmlformats.org/officeDocument/2006/relationships/image" Target="../media/image192.sv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91.png"/><Relationship Id="rId11" Type="http://schemas.openxmlformats.org/officeDocument/2006/relationships/image" Target="../media/image196.svg"/><Relationship Id="rId5" Type="http://schemas.openxmlformats.org/officeDocument/2006/relationships/image" Target="../media/image13.png"/><Relationship Id="rId10" Type="http://schemas.openxmlformats.org/officeDocument/2006/relationships/image" Target="../media/image195.png"/><Relationship Id="rId4" Type="http://schemas.openxmlformats.org/officeDocument/2006/relationships/image" Target="../media/image79.svg"/><Relationship Id="rId9" Type="http://schemas.openxmlformats.org/officeDocument/2006/relationships/image" Target="../media/image194.svg"/></Relationships>
</file>

<file path=ppt/slides/_rels/slide24.xml.rels><?xml version="1.0" encoding="UTF-8" standalone="yes"?>
<Relationships xmlns="http://schemas.openxmlformats.org/package/2006/relationships"><Relationship Id="rId8" Type="http://schemas.openxmlformats.org/officeDocument/2006/relationships/image" Target="../media/image200.png"/><Relationship Id="rId3" Type="http://schemas.microsoft.com/office/2018/10/relationships/comments" Target="../comments/modernComment_137_93C163C4.xml"/><Relationship Id="rId7" Type="http://schemas.openxmlformats.org/officeDocument/2006/relationships/image" Target="../media/image199.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98.png"/><Relationship Id="rId5" Type="http://schemas.microsoft.com/office/2007/relationships/hdphoto" Target="../media/hdphoto8.wdp"/><Relationship Id="rId10" Type="http://schemas.openxmlformats.org/officeDocument/2006/relationships/image" Target="../media/image202.png"/><Relationship Id="rId4" Type="http://schemas.openxmlformats.org/officeDocument/2006/relationships/image" Target="../media/image197.png"/><Relationship Id="rId9" Type="http://schemas.openxmlformats.org/officeDocument/2006/relationships/image" Target="../media/image201.png"/></Relationships>
</file>

<file path=ppt/slides/_rels/slide25.xml.rels><?xml version="1.0" encoding="UTF-8" standalone="yes"?>
<Relationships xmlns="http://schemas.openxmlformats.org/package/2006/relationships"><Relationship Id="rId8" Type="http://schemas.openxmlformats.org/officeDocument/2006/relationships/image" Target="../media/image208.svg"/><Relationship Id="rId13" Type="http://schemas.openxmlformats.org/officeDocument/2006/relationships/image" Target="../media/image209.gif"/><Relationship Id="rId3" Type="http://schemas.openxmlformats.org/officeDocument/2006/relationships/image" Target="../media/image203.png"/><Relationship Id="rId7" Type="http://schemas.openxmlformats.org/officeDocument/2006/relationships/image" Target="../media/image207.png"/><Relationship Id="rId12" Type="http://schemas.openxmlformats.org/officeDocument/2006/relationships/image" Target="../media/image173.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206.svg"/><Relationship Id="rId11" Type="http://schemas.openxmlformats.org/officeDocument/2006/relationships/image" Target="../media/image152.png"/><Relationship Id="rId5" Type="http://schemas.openxmlformats.org/officeDocument/2006/relationships/image" Target="../media/image205.png"/><Relationship Id="rId10" Type="http://schemas.openxmlformats.org/officeDocument/2006/relationships/image" Target="../media/image172.svg"/><Relationship Id="rId4" Type="http://schemas.openxmlformats.org/officeDocument/2006/relationships/image" Target="../media/image204.png"/><Relationship Id="rId9" Type="http://schemas.openxmlformats.org/officeDocument/2006/relationships/image" Target="../media/image15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214.jpeg"/><Relationship Id="rId3" Type="http://schemas.openxmlformats.org/officeDocument/2006/relationships/image" Target="../media/image18.png"/><Relationship Id="rId7" Type="http://schemas.openxmlformats.org/officeDocument/2006/relationships/image" Target="../media/image213.png"/><Relationship Id="rId12" Type="http://schemas.openxmlformats.org/officeDocument/2006/relationships/image" Target="../media/image218.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12.png"/><Relationship Id="rId11" Type="http://schemas.openxmlformats.org/officeDocument/2006/relationships/image" Target="../media/image217.png"/><Relationship Id="rId5" Type="http://schemas.openxmlformats.org/officeDocument/2006/relationships/image" Target="../media/image211.png"/><Relationship Id="rId10" Type="http://schemas.openxmlformats.org/officeDocument/2006/relationships/image" Target="../media/image216.png"/><Relationship Id="rId4" Type="http://schemas.openxmlformats.org/officeDocument/2006/relationships/image" Target="../media/image210.png"/><Relationship Id="rId9" Type="http://schemas.openxmlformats.org/officeDocument/2006/relationships/image" Target="../media/image215.png"/></Relationships>
</file>

<file path=ppt/slides/_rels/slide28.xml.rels><?xml version="1.0" encoding="UTF-8" standalone="yes"?>
<Relationships xmlns="http://schemas.openxmlformats.org/package/2006/relationships"><Relationship Id="rId3" Type="http://schemas.microsoft.com/office/2018/10/relationships/comments" Target="../comments/modernComment_148_F53DEEEF.xml"/><Relationship Id="rId7" Type="http://schemas.openxmlformats.org/officeDocument/2006/relationships/image" Target="../media/image22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221.png"/><Relationship Id="rId5" Type="http://schemas.openxmlformats.org/officeDocument/2006/relationships/image" Target="../media/image220.gif"/><Relationship Id="rId4" Type="http://schemas.openxmlformats.org/officeDocument/2006/relationships/image" Target="../media/image219.png"/></Relationships>
</file>

<file path=ppt/slides/_rels/slide29.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6.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hyperlink" Target="https://doi.org/10.1145/2556288.2557403" TargetMode="External"/><Relationship Id="rId3" Type="http://schemas.microsoft.com/office/2018/10/relationships/comments" Target="../comments/modernComment_16B_9B9F2B0A.xml"/><Relationship Id="rId7" Type="http://schemas.openxmlformats.org/officeDocument/2006/relationships/hyperlink" Target="https://pypi.org/project/mtcnn/"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32.xml.rels><?xml version="1.0" encoding="UTF-8" standalone="yes"?>
<Relationships xmlns="http://schemas.openxmlformats.org/package/2006/relationships"><Relationship Id="rId8" Type="http://schemas.openxmlformats.org/officeDocument/2006/relationships/image" Target="../media/image236.png"/><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33.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240.png"/><Relationship Id="rId5" Type="http://schemas.openxmlformats.org/officeDocument/2006/relationships/image" Target="../media/image239.png"/><Relationship Id="rId4" Type="http://schemas.openxmlformats.org/officeDocument/2006/relationships/image" Target="../media/image238.svg"/></Relationships>
</file>

<file path=ppt/slides/_rels/slide34.xml.rels><?xml version="1.0" encoding="UTF-8" standalone="yes"?>
<Relationships xmlns="http://schemas.openxmlformats.org/package/2006/relationships"><Relationship Id="rId8" Type="http://schemas.microsoft.com/office/2007/relationships/hdphoto" Target="../media/hdphoto9.wdp"/><Relationship Id="rId13" Type="http://schemas.microsoft.com/office/2007/relationships/diagramDrawing" Target="../diagrams/drawing1.xml"/><Relationship Id="rId3" Type="http://schemas.openxmlformats.org/officeDocument/2006/relationships/image" Target="../media/image241.png"/><Relationship Id="rId7" Type="http://schemas.openxmlformats.org/officeDocument/2006/relationships/image" Target="../media/image245.png"/><Relationship Id="rId12" Type="http://schemas.openxmlformats.org/officeDocument/2006/relationships/diagramColors" Target="../diagrams/colors1.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244.png"/><Relationship Id="rId11" Type="http://schemas.openxmlformats.org/officeDocument/2006/relationships/diagramQuickStyle" Target="../diagrams/quickStyle1.xml"/><Relationship Id="rId5" Type="http://schemas.openxmlformats.org/officeDocument/2006/relationships/image" Target="../media/image243.png"/><Relationship Id="rId10" Type="http://schemas.openxmlformats.org/officeDocument/2006/relationships/diagramLayout" Target="../diagrams/layout1.xml"/><Relationship Id="rId4" Type="http://schemas.openxmlformats.org/officeDocument/2006/relationships/image" Target="../media/image242.png"/><Relationship Id="rId9" Type="http://schemas.openxmlformats.org/officeDocument/2006/relationships/diagramData" Target="../diagrams/data1.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45.png"/><Relationship Id="rId7" Type="http://schemas.openxmlformats.org/officeDocument/2006/relationships/diagramQuickStyle" Target="../diagrams/quickStyle2.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9.wdp"/><Relationship Id="rId9" Type="http://schemas.microsoft.com/office/2007/relationships/diagramDrawing" Target="../diagrams/drawing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web.archive.org/" TargetMode="External"/><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17.svg"/><Relationship Id="rId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hyperlink" Target="https://www.id1.de/2021/05/11/20-best-airline-brands-on-instagram-in-2021/"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247.png"/><Relationship Id="rId7" Type="http://schemas.openxmlformats.org/officeDocument/2006/relationships/image" Target="../media/image249.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customXml" Target="../ink/ink2.xml"/><Relationship Id="rId5" Type="http://schemas.openxmlformats.org/officeDocument/2006/relationships/image" Target="../media/image248.png"/><Relationship Id="rId4" Type="http://schemas.openxmlformats.org/officeDocument/2006/relationships/customXml" Target="../ink/ink1.xml"/><Relationship Id="rId9" Type="http://schemas.openxmlformats.org/officeDocument/2006/relationships/image" Target="../media/image250.png"/></Relationships>
</file>

<file path=ppt/slides/_rels/slide43.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47.png"/><Relationship Id="rId1" Type="http://schemas.openxmlformats.org/officeDocument/2006/relationships/slideLayout" Target="../slideLayouts/slideLayout2.xml"/><Relationship Id="rId6" Type="http://schemas.openxmlformats.org/officeDocument/2006/relationships/image" Target="../media/image252.png"/><Relationship Id="rId5" Type="http://schemas.openxmlformats.org/officeDocument/2006/relationships/customXml" Target="../ink/ink5.xml"/><Relationship Id="rId4" Type="http://schemas.openxmlformats.org/officeDocument/2006/relationships/image" Target="../media/image251.png"/></Relationships>
</file>

<file path=ppt/slides/_rels/slide44.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55.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customXml" Target="../ink/ink7.xml"/><Relationship Id="rId5" Type="http://schemas.openxmlformats.org/officeDocument/2006/relationships/image" Target="../media/image254.png"/><Relationship Id="rId4" Type="http://schemas.openxmlformats.org/officeDocument/2006/relationships/customXml" Target="../ink/ink6.xml"/></Relationships>
</file>

<file path=ppt/slides/_rels/slide45.xml.rels><?xml version="1.0" encoding="UTF-8" standalone="yes"?>
<Relationships xmlns="http://schemas.openxmlformats.org/package/2006/relationships"><Relationship Id="rId8" Type="http://schemas.openxmlformats.org/officeDocument/2006/relationships/customXml" Target="../ink/ink10.xml"/><Relationship Id="rId13" Type="http://schemas.openxmlformats.org/officeDocument/2006/relationships/customXml" Target="../ink/ink15.xml"/><Relationship Id="rId3" Type="http://schemas.openxmlformats.org/officeDocument/2006/relationships/image" Target="../media/image253.png"/><Relationship Id="rId7" Type="http://schemas.openxmlformats.org/officeDocument/2006/relationships/image" Target="../media/image256.png"/><Relationship Id="rId12" Type="http://schemas.openxmlformats.org/officeDocument/2006/relationships/customXml" Target="../ink/ink14.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customXml" Target="../ink/ink9.xml"/><Relationship Id="rId11" Type="http://schemas.openxmlformats.org/officeDocument/2006/relationships/customXml" Target="../ink/ink13.xml"/><Relationship Id="rId5" Type="http://schemas.openxmlformats.org/officeDocument/2006/relationships/image" Target="../media/image251.png"/><Relationship Id="rId10" Type="http://schemas.openxmlformats.org/officeDocument/2006/relationships/customXml" Target="../ink/ink12.xml"/><Relationship Id="rId4" Type="http://schemas.openxmlformats.org/officeDocument/2006/relationships/customXml" Target="../ink/ink8.xml"/><Relationship Id="rId9" Type="http://schemas.openxmlformats.org/officeDocument/2006/relationships/customXml" Target="../ink/ink11.xml"/></Relationships>
</file>

<file path=ppt/slides/_rels/slide46.xml.rels><?xml version="1.0" encoding="UTF-8" standalone="yes"?>
<Relationships xmlns="http://schemas.openxmlformats.org/package/2006/relationships"><Relationship Id="rId3" Type="http://schemas.openxmlformats.org/officeDocument/2006/relationships/image" Target="../media/image257.png"/><Relationship Id="rId2" Type="http://schemas.microsoft.com/office/2018/10/relationships/comments" Target="../comments/modernComment_17A_5F5CF2C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2.png"/><Relationship Id="rId7" Type="http://schemas.openxmlformats.org/officeDocument/2006/relationships/image" Target="../media/image20.png"/><Relationship Id="rId12" Type="http://schemas.openxmlformats.org/officeDocument/2006/relationships/image" Target="../media/image17.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image" Target="../media/image26.png"/><Relationship Id="rId4" Type="http://schemas.openxmlformats.org/officeDocument/2006/relationships/image" Target="../media/image23.pn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29.png"/><Relationship Id="rId10" Type="http://schemas.openxmlformats.org/officeDocument/2006/relationships/image" Target="../media/image17.svg"/><Relationship Id="rId4" Type="http://schemas.openxmlformats.org/officeDocument/2006/relationships/image" Target="../media/image28.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39.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1.svg"/><Relationship Id="rId2" Type="http://schemas.openxmlformats.org/officeDocument/2006/relationships/notesSlide" Target="../notesSlides/notesSlide8.xml"/><Relationship Id="rId16" Type="http://schemas.microsoft.com/office/2007/relationships/hdphoto" Target="../media/hdphoto2.wdp"/><Relationship Id="rId1" Type="http://schemas.openxmlformats.org/officeDocument/2006/relationships/slideLayout" Target="../slideLayouts/slideLayout2.xml"/><Relationship Id="rId6" Type="http://schemas.openxmlformats.org/officeDocument/2006/relationships/hyperlink" Target="https://sproutsocial.com/insights/best-times-to-post-on-social-media/" TargetMode="External"/><Relationship Id="rId11" Type="http://schemas.openxmlformats.org/officeDocument/2006/relationships/image" Target="../media/image30.png"/><Relationship Id="rId5" Type="http://schemas.openxmlformats.org/officeDocument/2006/relationships/image" Target="../media/image34.png"/><Relationship Id="rId15" Type="http://schemas.openxmlformats.org/officeDocument/2006/relationships/image" Target="../media/image40.pn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40.png"/><Relationship Id="rId3" Type="http://schemas.openxmlformats.org/officeDocument/2006/relationships/image" Target="../media/image41.png"/><Relationship Id="rId7" Type="http://schemas.openxmlformats.org/officeDocument/2006/relationships/image" Target="../media/image30.png"/><Relationship Id="rId12" Type="http://schemas.microsoft.com/office/2007/relationships/hdphoto" Target="../media/hdphoto1.wdp"/><Relationship Id="rId17" Type="http://schemas.openxmlformats.org/officeDocument/2006/relationships/image" Target="../media/image47.png"/><Relationship Id="rId2" Type="http://schemas.openxmlformats.org/officeDocument/2006/relationships/notesSlide" Target="../notesSlides/notesSlide9.xml"/><Relationship Id="rId16" Type="http://schemas.openxmlformats.org/officeDocument/2006/relationships/image" Target="../media/image46.png"/><Relationship Id="rId1" Type="http://schemas.openxmlformats.org/officeDocument/2006/relationships/slideLayout" Target="../slideLayouts/slideLayout2.xml"/><Relationship Id="rId6" Type="http://schemas.microsoft.com/office/2007/relationships/hdphoto" Target="../media/hdphoto3.wdp"/><Relationship Id="rId11" Type="http://schemas.openxmlformats.org/officeDocument/2006/relationships/image" Target="../media/image39.png"/><Relationship Id="rId5" Type="http://schemas.openxmlformats.org/officeDocument/2006/relationships/image" Target="../media/image43.png"/><Relationship Id="rId15" Type="http://schemas.openxmlformats.org/officeDocument/2006/relationships/image" Target="../media/image45.png"/><Relationship Id="rId10" Type="http://schemas.microsoft.com/office/2007/relationships/hdphoto" Target="../media/hdphoto4.wdp"/><Relationship Id="rId4" Type="http://schemas.openxmlformats.org/officeDocument/2006/relationships/image" Target="../media/image42.png"/><Relationship Id="rId9" Type="http://schemas.openxmlformats.org/officeDocument/2006/relationships/image" Target="../media/image44.png"/><Relationship Id="rId1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365"/>
        <p:cNvGrpSpPr/>
        <p:nvPr/>
      </p:nvGrpSpPr>
      <p:grpSpPr>
        <a:xfrm>
          <a:off x="0" y="0"/>
          <a:ext cx="0" cy="0"/>
          <a:chOff x="0" y="0"/>
          <a:chExt cx="0" cy="0"/>
        </a:xfrm>
      </p:grpSpPr>
      <p:sp>
        <p:nvSpPr>
          <p:cNvPr id="3366" name="Google Shape;3366;p36"/>
          <p:cNvSpPr txBox="1">
            <a:spLocks noGrp="1"/>
          </p:cNvSpPr>
          <p:nvPr>
            <p:ph type="ctrTitle"/>
          </p:nvPr>
        </p:nvSpPr>
        <p:spPr>
          <a:xfrm>
            <a:off x="1254135" y="1626431"/>
            <a:ext cx="6635729" cy="1668507"/>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GB" sz="5400" b="1"/>
              <a:t>The Sky's the Limit</a:t>
            </a:r>
            <a:br>
              <a:rPr lang="en-GB" sz="3600" b="1"/>
            </a:br>
            <a:r>
              <a:rPr lang="en-GB" sz="2400"/>
              <a:t>elevating Lufthansa's Instagram Marketing </a:t>
            </a:r>
            <a:br>
              <a:rPr lang="en-GB" sz="2400"/>
            </a:br>
            <a:r>
              <a:rPr lang="en-GB" sz="2400"/>
              <a:t>through data-driven insights</a:t>
            </a:r>
            <a:endParaRPr lang="en-GB" sz="3600"/>
          </a:p>
        </p:txBody>
      </p:sp>
      <p:pic>
        <p:nvPicPr>
          <p:cNvPr id="3368" name="Google Shape;3368;p36"/>
          <p:cNvPicPr preferRelativeResize="0"/>
          <p:nvPr/>
        </p:nvPicPr>
        <p:blipFill>
          <a:blip r:embed="rId3">
            <a:alphaModFix/>
          </a:blip>
          <a:stretch>
            <a:fillRect/>
          </a:stretch>
        </p:blipFill>
        <p:spPr>
          <a:xfrm>
            <a:off x="4276726" y="-347791"/>
            <a:ext cx="5295899" cy="2286248"/>
          </a:xfrm>
          <a:prstGeom prst="rect">
            <a:avLst/>
          </a:prstGeom>
          <a:noFill/>
          <a:ln>
            <a:noFill/>
          </a:ln>
        </p:spPr>
      </p:pic>
      <p:grpSp>
        <p:nvGrpSpPr>
          <p:cNvPr id="3369" name="Google Shape;3369;p36"/>
          <p:cNvGrpSpPr/>
          <p:nvPr/>
        </p:nvGrpSpPr>
        <p:grpSpPr>
          <a:xfrm>
            <a:off x="713228" y="8468"/>
            <a:ext cx="1763602" cy="1672817"/>
            <a:chOff x="4138184" y="930105"/>
            <a:chExt cx="3959591" cy="3755764"/>
          </a:xfrm>
        </p:grpSpPr>
        <p:sp>
          <p:nvSpPr>
            <p:cNvPr id="3370" name="Google Shape;3370;p36"/>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71" name="Google Shape;3371;p36"/>
            <p:cNvGrpSpPr/>
            <p:nvPr/>
          </p:nvGrpSpPr>
          <p:grpSpPr>
            <a:xfrm>
              <a:off x="4138184" y="930105"/>
              <a:ext cx="3868174" cy="3755764"/>
              <a:chOff x="4138184" y="930105"/>
              <a:chExt cx="3868174" cy="3755764"/>
            </a:xfrm>
          </p:grpSpPr>
          <p:sp>
            <p:nvSpPr>
              <p:cNvPr id="3372" name="Google Shape;3372;p36"/>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36"/>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36"/>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36"/>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36"/>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36"/>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36"/>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36"/>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36"/>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36"/>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36"/>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36"/>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36"/>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36"/>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36"/>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36"/>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36"/>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36"/>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36"/>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36"/>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36"/>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36"/>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36"/>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36"/>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36"/>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36"/>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36"/>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36"/>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36"/>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36"/>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36"/>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36"/>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36"/>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36"/>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36"/>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36"/>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36"/>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36"/>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36"/>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36"/>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36"/>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36"/>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36"/>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36"/>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36"/>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36"/>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36"/>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36"/>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36"/>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36"/>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36"/>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36"/>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36"/>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36"/>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36"/>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36"/>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36"/>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36"/>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36"/>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36"/>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36"/>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36"/>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36"/>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36"/>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36"/>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36"/>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36"/>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36"/>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36"/>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36"/>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36"/>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36"/>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36"/>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36"/>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36"/>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36"/>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36"/>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36"/>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36"/>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36"/>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36"/>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36"/>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36"/>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36"/>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36"/>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36"/>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36"/>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36"/>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36"/>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36"/>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36"/>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36"/>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36"/>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36"/>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36"/>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36"/>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36"/>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36"/>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36"/>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36"/>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36"/>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36"/>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36"/>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36"/>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36"/>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36"/>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36"/>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36"/>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36"/>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36"/>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36"/>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36"/>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36"/>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36"/>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36"/>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36"/>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36"/>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36"/>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36"/>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36"/>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36"/>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36"/>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36"/>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36"/>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36"/>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36"/>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36"/>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36"/>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36"/>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36"/>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36"/>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36"/>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36"/>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36"/>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36"/>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507" name="Google Shape;3507;p36"/>
          <p:cNvGrpSpPr/>
          <p:nvPr/>
        </p:nvGrpSpPr>
        <p:grpSpPr>
          <a:xfrm rot="-5400000">
            <a:off x="7194374" y="470663"/>
            <a:ext cx="2054108" cy="1672817"/>
            <a:chOff x="3394530" y="930105"/>
            <a:chExt cx="4611828" cy="3755764"/>
          </a:xfrm>
        </p:grpSpPr>
        <p:sp>
          <p:nvSpPr>
            <p:cNvPr id="3508" name="Google Shape;3508;p36"/>
            <p:cNvSpPr/>
            <p:nvPr/>
          </p:nvSpPr>
          <p:spPr>
            <a:xfrm>
              <a:off x="3394530" y="121409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09" name="Google Shape;3509;p36"/>
            <p:cNvGrpSpPr/>
            <p:nvPr/>
          </p:nvGrpSpPr>
          <p:grpSpPr>
            <a:xfrm>
              <a:off x="4138184" y="930105"/>
              <a:ext cx="3868174" cy="3755764"/>
              <a:chOff x="4138184" y="930105"/>
              <a:chExt cx="3868174" cy="3755764"/>
            </a:xfrm>
          </p:grpSpPr>
          <p:sp>
            <p:nvSpPr>
              <p:cNvPr id="3510" name="Google Shape;3510;p36"/>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36"/>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36"/>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36"/>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36"/>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36"/>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36"/>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36"/>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36"/>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36"/>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36"/>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36"/>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36"/>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36"/>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36"/>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36"/>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36"/>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36"/>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36"/>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36"/>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36"/>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36"/>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36"/>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36"/>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36"/>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36"/>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36"/>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36"/>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36"/>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36"/>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36"/>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36"/>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36"/>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36"/>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36"/>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36"/>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36"/>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36"/>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36"/>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36"/>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36"/>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36"/>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36"/>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36"/>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36"/>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36"/>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36"/>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36"/>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36"/>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36"/>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36"/>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36"/>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36"/>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36"/>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36"/>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36"/>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36"/>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36"/>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36"/>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36"/>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36"/>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36"/>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36"/>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36"/>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36"/>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36"/>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36"/>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36"/>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36"/>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36"/>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36"/>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36"/>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36"/>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36"/>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36"/>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36"/>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36"/>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36"/>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36"/>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36"/>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36"/>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36"/>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36"/>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36"/>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36"/>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36"/>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36"/>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36"/>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36"/>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36"/>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36"/>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36"/>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36"/>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36"/>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36"/>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36"/>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36"/>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36"/>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36"/>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36"/>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36"/>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36"/>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36"/>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36"/>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36"/>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36"/>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36"/>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36"/>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36"/>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36"/>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36"/>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36"/>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36"/>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36"/>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36"/>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36"/>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36"/>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36"/>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36"/>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36"/>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36"/>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36"/>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36"/>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36"/>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36"/>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36"/>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36"/>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36"/>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36"/>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36"/>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36"/>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36"/>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36"/>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36"/>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36"/>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783" name="Google Shape;3783;p36"/>
          <p:cNvSpPr/>
          <p:nvPr/>
        </p:nvSpPr>
        <p:spPr>
          <a:xfrm>
            <a:off x="-85725" y="1162050"/>
            <a:ext cx="1318225" cy="2420777"/>
          </a:xfrm>
          <a:custGeom>
            <a:avLst/>
            <a:gdLst/>
            <a:ahLst/>
            <a:cxnLst/>
            <a:rect l="l" t="t" r="r" b="b"/>
            <a:pathLst>
              <a:path w="52729" h="158496" extrusionOk="0">
                <a:moveTo>
                  <a:pt x="32385" y="0"/>
                </a:moveTo>
                <a:cubicBezTo>
                  <a:pt x="20673" y="1952"/>
                  <a:pt x="9580" y="18835"/>
                  <a:pt x="13335" y="30099"/>
                </a:cubicBezTo>
                <a:cubicBezTo>
                  <a:pt x="16235" y="38798"/>
                  <a:pt x="28389" y="40612"/>
                  <a:pt x="35433" y="46482"/>
                </a:cubicBezTo>
                <a:cubicBezTo>
                  <a:pt x="43634" y="53316"/>
                  <a:pt x="51868" y="62881"/>
                  <a:pt x="52578" y="73533"/>
                </a:cubicBezTo>
                <a:cubicBezTo>
                  <a:pt x="53714" y="90574"/>
                  <a:pt x="46352" y="109079"/>
                  <a:pt x="34671" y="121539"/>
                </a:cubicBezTo>
                <a:cubicBezTo>
                  <a:pt x="23118" y="133862"/>
                  <a:pt x="7554" y="143388"/>
                  <a:pt x="0" y="158496"/>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3367" name="Google Shape;3367;p36"/>
          <p:cNvSpPr txBox="1">
            <a:spLocks noGrp="1"/>
          </p:cNvSpPr>
          <p:nvPr>
            <p:ph type="subTitle" idx="1"/>
          </p:nvPr>
        </p:nvSpPr>
        <p:spPr>
          <a:xfrm>
            <a:off x="55689" y="3925308"/>
            <a:ext cx="2985398" cy="1122691"/>
          </a:xfrm>
          <a:prstGeom prst="rect">
            <a:avLst/>
          </a:prstGeom>
          <a:noFill/>
        </p:spPr>
        <p:txBody>
          <a:bodyPr spcFirstLastPara="1" wrap="square" lIns="91425" tIns="91425" rIns="91425" bIns="91425" anchor="t" anchorCtr="0">
            <a:noAutofit/>
          </a:bodyPr>
          <a:lstStyle/>
          <a:p>
            <a:pPr marL="0" lvl="0" indent="0" algn="l" rtl="0">
              <a:spcBef>
                <a:spcPts val="0"/>
              </a:spcBef>
              <a:spcAft>
                <a:spcPts val="0"/>
              </a:spcAft>
              <a:buNone/>
            </a:pPr>
            <a:r>
              <a:rPr lang="nl-BE" sz="1400" b="1">
                <a:latin typeface="Tahoma" panose="020B0604030504040204" pitchFamily="34" charset="0"/>
                <a:ea typeface="Tahoma" panose="020B0604030504040204" pitchFamily="34" charset="0"/>
                <a:cs typeface="Tahoma" panose="020B0604030504040204" pitchFamily="34" charset="0"/>
              </a:rPr>
              <a:t>Ballegeer Matteo	01900129</a:t>
            </a:r>
          </a:p>
          <a:p>
            <a:pPr marL="0" lvl="0" indent="0" algn="l" rtl="0">
              <a:spcBef>
                <a:spcPts val="0"/>
              </a:spcBef>
              <a:spcAft>
                <a:spcPts val="0"/>
              </a:spcAft>
              <a:buNone/>
            </a:pPr>
            <a:r>
              <a:rPr lang="nl-BE" sz="1400" b="1">
                <a:latin typeface="Tahoma" panose="020B0604030504040204" pitchFamily="34" charset="0"/>
                <a:ea typeface="Tahoma" panose="020B0604030504040204" pitchFamily="34" charset="0"/>
                <a:cs typeface="Tahoma" panose="020B0604030504040204" pitchFamily="34" charset="0"/>
              </a:rPr>
              <a:t>De Rocker Yaël	01904043</a:t>
            </a:r>
          </a:p>
          <a:p>
            <a:pPr marL="0" lvl="0" indent="0" algn="l" rtl="0">
              <a:spcBef>
                <a:spcPts val="0"/>
              </a:spcBef>
              <a:spcAft>
                <a:spcPts val="0"/>
              </a:spcAft>
              <a:buNone/>
            </a:pPr>
            <a:r>
              <a:rPr lang="nl-BE" sz="1400" b="1">
                <a:latin typeface="Tahoma" panose="020B0604030504040204" pitchFamily="34" charset="0"/>
                <a:ea typeface="Tahoma" panose="020B0604030504040204" pitchFamily="34" charset="0"/>
                <a:cs typeface="Tahoma" panose="020B0604030504040204" pitchFamily="34" charset="0"/>
              </a:rPr>
              <a:t>Janssens Wannes  	01905583</a:t>
            </a:r>
          </a:p>
          <a:p>
            <a:pPr marL="0" lvl="0" indent="0" algn="l" rtl="0">
              <a:spcBef>
                <a:spcPts val="0"/>
              </a:spcBef>
              <a:spcAft>
                <a:spcPts val="0"/>
              </a:spcAft>
              <a:buNone/>
            </a:pPr>
            <a:r>
              <a:rPr lang="nl-BE" sz="1400" b="1">
                <a:latin typeface="Tahoma" panose="020B0604030504040204" pitchFamily="34" charset="0"/>
                <a:ea typeface="Tahoma" panose="020B0604030504040204" pitchFamily="34" charset="0"/>
                <a:cs typeface="Tahoma" panose="020B0604030504040204" pitchFamily="34" charset="0"/>
              </a:rPr>
              <a:t>Peire Julian 	01900199</a:t>
            </a:r>
          </a:p>
          <a:p>
            <a:pPr marL="0" lvl="0" indent="0" algn="l" rtl="0">
              <a:spcBef>
                <a:spcPts val="0"/>
              </a:spcBef>
              <a:spcAft>
                <a:spcPts val="0"/>
              </a:spcAft>
              <a:buNone/>
            </a:pPr>
            <a:r>
              <a:rPr lang="nl-BE" sz="1400" b="1">
                <a:latin typeface="Tahoma" panose="020B0604030504040204" pitchFamily="34" charset="0"/>
                <a:ea typeface="Tahoma" panose="020B0604030504040204" pitchFamily="34" charset="0"/>
                <a:cs typeface="Tahoma" panose="020B0604030504040204" pitchFamily="34" charset="0"/>
              </a:rPr>
              <a:t>Willemen Tom 	01900194</a:t>
            </a:r>
          </a:p>
        </p:txBody>
      </p:sp>
      <p:pic>
        <p:nvPicPr>
          <p:cNvPr id="6" name="Picture 5" descr="A logo of a camera&#10;&#10;Description automatically generated">
            <a:extLst>
              <a:ext uri="{FF2B5EF4-FFF2-40B4-BE49-F238E27FC236}">
                <a16:creationId xmlns:a16="http://schemas.microsoft.com/office/drawing/2014/main" id="{8F28D8B9-05CA-5E76-9FE0-0BA821D74229}"/>
              </a:ext>
            </a:extLst>
          </p:cNvPr>
          <p:cNvPicPr>
            <a:picLocks noChangeAspect="1"/>
          </p:cNvPicPr>
          <p:nvPr/>
        </p:nvPicPr>
        <p:blipFill>
          <a:blip r:embed="rId4"/>
          <a:stretch>
            <a:fillRect/>
          </a:stretch>
        </p:blipFill>
        <p:spPr>
          <a:xfrm>
            <a:off x="4867276" y="3706166"/>
            <a:ext cx="1011546" cy="1011546"/>
          </a:xfrm>
          <a:prstGeom prst="rect">
            <a:avLst/>
          </a:prstGeom>
        </p:spPr>
      </p:pic>
      <p:pic>
        <p:nvPicPr>
          <p:cNvPr id="8" name="Picture 7" descr="A logo on a black background&#10;&#10;Description automatically generated">
            <a:extLst>
              <a:ext uri="{FF2B5EF4-FFF2-40B4-BE49-F238E27FC236}">
                <a16:creationId xmlns:a16="http://schemas.microsoft.com/office/drawing/2014/main" id="{C8F745B5-69DA-CA21-C566-F352C5B31769}"/>
              </a:ext>
            </a:extLst>
          </p:cNvPr>
          <p:cNvPicPr>
            <a:picLocks noChangeAspect="1"/>
          </p:cNvPicPr>
          <p:nvPr/>
        </p:nvPicPr>
        <p:blipFill rotWithShape="1">
          <a:blip r:embed="rId5"/>
          <a:srcRect l="11019" t="38400" r="75153" b="39537"/>
          <a:stretch/>
        </p:blipFill>
        <p:spPr>
          <a:xfrm>
            <a:off x="3209918" y="3582827"/>
            <a:ext cx="1066808" cy="1134885"/>
          </a:xfrm>
          <a:prstGeom prst="rect">
            <a:avLst/>
          </a:prstGeom>
        </p:spPr>
      </p:pic>
      <p:sp>
        <p:nvSpPr>
          <p:cNvPr id="3784" name="Google Shape;3784;p36"/>
          <p:cNvSpPr/>
          <p:nvPr/>
        </p:nvSpPr>
        <p:spPr>
          <a:xfrm>
            <a:off x="7685927" y="2019300"/>
            <a:ext cx="895650" cy="4038600"/>
          </a:xfrm>
          <a:custGeom>
            <a:avLst/>
            <a:gdLst/>
            <a:ahLst/>
            <a:cxnLst/>
            <a:rect l="l" t="t" r="r" b="b"/>
            <a:pathLst>
              <a:path w="35826" h="161544" extrusionOk="0">
                <a:moveTo>
                  <a:pt x="35826" y="0"/>
                </a:moveTo>
                <a:cubicBezTo>
                  <a:pt x="35826" y="7522"/>
                  <a:pt x="35426" y="15839"/>
                  <a:pt x="31254" y="22098"/>
                </a:cubicBezTo>
                <a:cubicBezTo>
                  <a:pt x="23682" y="33456"/>
                  <a:pt x="9702" y="39729"/>
                  <a:pt x="2679" y="51435"/>
                </a:cubicBezTo>
                <a:cubicBezTo>
                  <a:pt x="-924" y="57440"/>
                  <a:pt x="-218" y="65523"/>
                  <a:pt x="1155" y="72390"/>
                </a:cubicBezTo>
                <a:cubicBezTo>
                  <a:pt x="3222" y="82727"/>
                  <a:pt x="23401" y="92001"/>
                  <a:pt x="30492" y="84201"/>
                </a:cubicBezTo>
                <a:cubicBezTo>
                  <a:pt x="34084" y="80250"/>
                  <a:pt x="34638" y="70303"/>
                  <a:pt x="29730" y="68199"/>
                </a:cubicBezTo>
                <a:cubicBezTo>
                  <a:pt x="25105" y="66217"/>
                  <a:pt x="19058" y="68075"/>
                  <a:pt x="14871" y="70866"/>
                </a:cubicBezTo>
                <a:cubicBezTo>
                  <a:pt x="7918" y="75501"/>
                  <a:pt x="5560" y="85427"/>
                  <a:pt x="4584" y="93726"/>
                </a:cubicBezTo>
                <a:cubicBezTo>
                  <a:pt x="3188" y="105588"/>
                  <a:pt x="1833" y="118248"/>
                  <a:pt x="5727" y="129540"/>
                </a:cubicBezTo>
                <a:cubicBezTo>
                  <a:pt x="10281" y="142745"/>
                  <a:pt x="20284" y="155297"/>
                  <a:pt x="32778" y="161544"/>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07854D9-B773-1895-B8D5-457937BA4EE1}"/>
              </a:ext>
            </a:extLst>
          </p:cNvPr>
          <p:cNvSpPr txBox="1"/>
          <p:nvPr/>
        </p:nvSpPr>
        <p:spPr>
          <a:xfrm>
            <a:off x="5307846" y="3823541"/>
            <a:ext cx="3631914" cy="684803"/>
          </a:xfrm>
          <a:prstGeom prst="rect">
            <a:avLst/>
          </a:prstGeom>
          <a:noFill/>
        </p:spPr>
        <p:txBody>
          <a:bodyPr wrap="square" rtlCol="0">
            <a:spAutoFit/>
          </a:bodyPr>
          <a:lstStyle/>
          <a:p>
            <a:pPr algn="ctr">
              <a:spcAft>
                <a:spcPts val="300"/>
              </a:spcAft>
            </a:pPr>
            <a:r>
              <a:rPr lang="en-GB" sz="1800" b="1">
                <a:solidFill>
                  <a:srgbClr val="E08806"/>
                </a:solidFill>
                <a:latin typeface="Tahoma" panose="020B0604030504040204" pitchFamily="34" charset="0"/>
                <a:ea typeface="Tahoma" panose="020B0604030504040204" pitchFamily="34" charset="0"/>
                <a:cs typeface="Tahoma" panose="020B0604030504040204" pitchFamily="34" charset="0"/>
              </a:rPr>
              <a:t>Product quality,</a:t>
            </a:r>
          </a:p>
          <a:p>
            <a:pPr algn="ctr">
              <a:spcAft>
                <a:spcPts val="300"/>
              </a:spcAft>
            </a:pPr>
            <a:r>
              <a:rPr lang="en-GB" sz="1800" b="1">
                <a:solidFill>
                  <a:srgbClr val="E08806"/>
                </a:solidFill>
                <a:latin typeface="Tahoma" panose="020B0604030504040204" pitchFamily="34" charset="0"/>
                <a:ea typeface="Tahoma" panose="020B0604030504040204" pitchFamily="34" charset="0"/>
                <a:cs typeface="Tahoma" panose="020B0604030504040204" pitchFamily="34" charset="0"/>
              </a:rPr>
              <a:t>flight experience </a:t>
            </a:r>
          </a:p>
        </p:txBody>
      </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solidFill>
                  <a:srgbClr val="0A1D3D"/>
                </a:solidFill>
              </a:rPr>
              <a:t>Caption structure and </a:t>
            </a:r>
            <a:r>
              <a:rPr lang="en-GB">
                <a:solidFill>
                  <a:schemeClr val="bg1">
                    <a:lumMod val="50000"/>
                  </a:schemeClr>
                </a:solidFill>
              </a:rPr>
              <a:t>hashtags</a:t>
            </a:r>
          </a:p>
        </p:txBody>
      </p:sp>
      <p:pic>
        <p:nvPicPr>
          <p:cNvPr id="8" name="Picture 7" descr="A logo with blue and yellow stripes&#10;&#10;Description automatically generated">
            <a:extLst>
              <a:ext uri="{FF2B5EF4-FFF2-40B4-BE49-F238E27FC236}">
                <a16:creationId xmlns:a16="http://schemas.microsoft.com/office/drawing/2014/main" id="{9F12456D-0179-444D-424D-47A690461B65}"/>
              </a:ext>
            </a:extLst>
          </p:cNvPr>
          <p:cNvPicPr>
            <a:picLocks noChangeAspect="1"/>
          </p:cNvPicPr>
          <p:nvPr/>
        </p:nvPicPr>
        <p:blipFill>
          <a:blip r:embed="rId3"/>
          <a:stretch>
            <a:fillRect/>
          </a:stretch>
        </p:blipFill>
        <p:spPr>
          <a:xfrm>
            <a:off x="6246527" y="781423"/>
            <a:ext cx="1513091" cy="951773"/>
          </a:xfrm>
          <a:prstGeom prst="rect">
            <a:avLst/>
          </a:prstGeom>
        </p:spPr>
      </p:pic>
      <p:pic>
        <p:nvPicPr>
          <p:cNvPr id="10" name="Picture 9" descr="A logo on a black background&#10;&#10;Description automatically generated">
            <a:extLst>
              <a:ext uri="{FF2B5EF4-FFF2-40B4-BE49-F238E27FC236}">
                <a16:creationId xmlns:a16="http://schemas.microsoft.com/office/drawing/2014/main" id="{96FB1323-37FB-19EF-4AFA-FA6452DEEA1A}"/>
              </a:ext>
            </a:extLst>
          </p:cNvPr>
          <p:cNvPicPr>
            <a:picLocks noChangeAspect="1"/>
          </p:cNvPicPr>
          <p:nvPr/>
        </p:nvPicPr>
        <p:blipFill rotWithShape="1">
          <a:blip r:embed="rId4"/>
          <a:srcRect l="10842" t="37933" r="10764" b="38549"/>
          <a:stretch/>
        </p:blipFill>
        <p:spPr>
          <a:xfrm>
            <a:off x="1077763" y="1112755"/>
            <a:ext cx="1947090" cy="389418"/>
          </a:xfrm>
          <a:prstGeom prst="rect">
            <a:avLst/>
          </a:prstGeom>
        </p:spPr>
      </p:pic>
      <p:sp>
        <p:nvSpPr>
          <p:cNvPr id="4" name="TextBox 3">
            <a:extLst>
              <a:ext uri="{FF2B5EF4-FFF2-40B4-BE49-F238E27FC236}">
                <a16:creationId xmlns:a16="http://schemas.microsoft.com/office/drawing/2014/main" id="{5B0585C8-68C2-B625-F486-E00DA6D74950}"/>
              </a:ext>
            </a:extLst>
          </p:cNvPr>
          <p:cNvSpPr txBox="1"/>
          <p:nvPr/>
        </p:nvSpPr>
        <p:spPr>
          <a:xfrm>
            <a:off x="-272354" y="2746219"/>
            <a:ext cx="4927933" cy="907941"/>
          </a:xfrm>
          <a:prstGeom prst="rect">
            <a:avLst/>
          </a:prstGeom>
          <a:noFill/>
        </p:spPr>
        <p:txBody>
          <a:bodyPr wrap="square" rtlCol="0">
            <a:spAutoFit/>
          </a:bodyPr>
          <a:lstStyle/>
          <a:p>
            <a:pPr algn="ctr"/>
            <a:endParaRPr lang="en-GB"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endParaRPr lang="en-GB"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600"/>
              </a:spcBef>
            </a:pPr>
            <a:r>
              <a:rPr lang="en-GB" sz="2000" b="1">
                <a:solidFill>
                  <a:srgbClr val="0A1D3D"/>
                </a:solidFill>
                <a:latin typeface="Tahoma" panose="020B0604030504040204" pitchFamily="34" charset="0"/>
                <a:ea typeface="Tahoma" panose="020B0604030504040204" pitchFamily="34" charset="0"/>
                <a:cs typeface="Tahoma" panose="020B0604030504040204" pitchFamily="34" charset="0"/>
              </a:rPr>
              <a:t>58%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f posts contain hashtags</a:t>
            </a:r>
          </a:p>
        </p:txBody>
      </p:sp>
      <p:sp>
        <p:nvSpPr>
          <p:cNvPr id="19" name="TextBox 18">
            <a:extLst>
              <a:ext uri="{FF2B5EF4-FFF2-40B4-BE49-F238E27FC236}">
                <a16:creationId xmlns:a16="http://schemas.microsoft.com/office/drawing/2014/main" id="{62450610-980A-4B30-3AFD-813B322C716B}"/>
              </a:ext>
            </a:extLst>
          </p:cNvPr>
          <p:cNvSpPr txBox="1"/>
          <p:nvPr/>
        </p:nvSpPr>
        <p:spPr>
          <a:xfrm>
            <a:off x="4804402" y="2817413"/>
            <a:ext cx="4397339" cy="907941"/>
          </a:xfrm>
          <a:prstGeom prst="rect">
            <a:avLst/>
          </a:prstGeom>
          <a:noFill/>
        </p:spPr>
        <p:txBody>
          <a:bodyPr wrap="square" rtlCol="0">
            <a:spAutoFit/>
          </a:bodyPr>
          <a:lstStyle/>
          <a:p>
            <a:pPr algn="ctr"/>
            <a:endParaRPr lang="en-GB"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endParaRPr lang="en-GB"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600"/>
              </a:spcBef>
            </a:pPr>
            <a:r>
              <a:rPr lang="en-GB" sz="2000" b="1">
                <a:solidFill>
                  <a:srgbClr val="E08806"/>
                </a:solidFill>
                <a:latin typeface="Tahoma" panose="020B0604030504040204" pitchFamily="34" charset="0"/>
                <a:ea typeface="Tahoma" panose="020B0604030504040204" pitchFamily="34" charset="0"/>
                <a:cs typeface="Tahoma" panose="020B0604030504040204" pitchFamily="34" charset="0"/>
              </a:rPr>
              <a:t>93%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f posts contain hashtags</a:t>
            </a:r>
          </a:p>
        </p:txBody>
      </p:sp>
      <p:sp>
        <p:nvSpPr>
          <p:cNvPr id="27" name="TextBox 26">
            <a:extLst>
              <a:ext uri="{FF2B5EF4-FFF2-40B4-BE49-F238E27FC236}">
                <a16:creationId xmlns:a16="http://schemas.microsoft.com/office/drawing/2014/main" id="{F022540E-F8F1-5365-407F-A132359EC2C2}"/>
              </a:ext>
            </a:extLst>
          </p:cNvPr>
          <p:cNvSpPr txBox="1"/>
          <p:nvPr/>
        </p:nvSpPr>
        <p:spPr>
          <a:xfrm>
            <a:off x="1156279" y="2017192"/>
            <a:ext cx="2847034" cy="1069524"/>
          </a:xfrm>
          <a:prstGeom prst="rect">
            <a:avLst/>
          </a:prstGeom>
          <a:noFill/>
        </p:spPr>
        <p:txBody>
          <a:bodyPr wrap="square" rtlCol="0">
            <a:spAutoFit/>
          </a:bodyPr>
          <a:lstStyle/>
          <a:p>
            <a:pPr algn="ctr">
              <a:spcAft>
                <a:spcPts val="300"/>
              </a:spcAft>
            </a:pPr>
            <a:r>
              <a:rPr lang="en-GB" err="1">
                <a:solidFill>
                  <a:srgbClr val="0F1A42"/>
                </a:solidFill>
                <a:latin typeface="Tahoma" panose="020B0604030504040204" pitchFamily="34" charset="0"/>
                <a:ea typeface="Tahoma" panose="020B0604030504040204" pitchFamily="34" charset="0"/>
                <a:cs typeface="Tahoma" panose="020B0604030504040204" pitchFamily="34" charset="0"/>
              </a:rPr>
              <a:t>LhCityOfTheMonth</a:t>
            </a:r>
            <a:endParaRPr lang="en-GB">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Aft>
                <a:spcPts val="300"/>
              </a:spcAft>
            </a:pPr>
            <a:r>
              <a:rPr lang="en-GB" err="1">
                <a:solidFill>
                  <a:srgbClr val="0F1A42"/>
                </a:solidFill>
                <a:latin typeface="Tahoma" panose="020B0604030504040204" pitchFamily="34" charset="0"/>
                <a:ea typeface="Tahoma" panose="020B0604030504040204" pitchFamily="34" charset="0"/>
                <a:cs typeface="Tahoma" panose="020B0604030504040204" pitchFamily="34" charset="0"/>
              </a:rPr>
              <a:t>CityOfTheMonth</a:t>
            </a:r>
            <a:endParaRPr lang="en-GB">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Aft>
                <a:spcPts val="300"/>
              </a:spcAft>
            </a:pPr>
            <a:r>
              <a:rPr lang="en-GB" err="1">
                <a:solidFill>
                  <a:srgbClr val="0F1A42"/>
                </a:solidFill>
                <a:latin typeface="Tahoma" panose="020B0604030504040204" pitchFamily="34" charset="0"/>
                <a:ea typeface="Tahoma" panose="020B0604030504040204" pitchFamily="34" charset="0"/>
                <a:cs typeface="Tahoma" panose="020B0604030504040204" pitchFamily="34" charset="0"/>
              </a:rPr>
              <a:t>Heimweh</a:t>
            </a:r>
            <a:endParaRPr lang="en-GB">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Aft>
                <a:spcPts val="300"/>
              </a:spcAft>
            </a:pPr>
            <a:r>
              <a:rPr lang="en-GB" err="1">
                <a:solidFill>
                  <a:srgbClr val="0F1A42"/>
                </a:solidFill>
                <a:latin typeface="Tahoma" panose="020B0604030504040204" pitchFamily="34" charset="0"/>
                <a:ea typeface="Tahoma" panose="020B0604030504040204" pitchFamily="34" charset="0"/>
                <a:cs typeface="Tahoma" panose="020B0604030504040204" pitchFamily="34" charset="0"/>
              </a:rPr>
              <a:t>SayYesToTheWorld</a:t>
            </a:r>
            <a:endParaRPr lang="en-GB">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sp>
        <p:nvSpPr>
          <p:cNvPr id="16" name="Arrow: Right 15">
            <a:extLst>
              <a:ext uri="{FF2B5EF4-FFF2-40B4-BE49-F238E27FC236}">
                <a16:creationId xmlns:a16="http://schemas.microsoft.com/office/drawing/2014/main" id="{A0441D1E-980C-12D7-D509-1421DCF291E8}"/>
              </a:ext>
            </a:extLst>
          </p:cNvPr>
          <p:cNvSpPr/>
          <p:nvPr/>
        </p:nvSpPr>
        <p:spPr>
          <a:xfrm>
            <a:off x="583287" y="3919409"/>
            <a:ext cx="572992" cy="350554"/>
          </a:xfrm>
          <a:prstGeom prst="rightArrow">
            <a:avLst/>
          </a:prstGeom>
          <a:solidFill>
            <a:srgbClr val="0F1A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B9C9F634-DE9C-6CD0-C73B-8E5161C4006A}"/>
              </a:ext>
            </a:extLst>
          </p:cNvPr>
          <p:cNvSpPr txBox="1"/>
          <p:nvPr/>
        </p:nvSpPr>
        <p:spPr>
          <a:xfrm>
            <a:off x="1077763" y="3823541"/>
            <a:ext cx="3392912" cy="646331"/>
          </a:xfrm>
          <a:prstGeom prst="rect">
            <a:avLst/>
          </a:prstGeom>
          <a:noFill/>
        </p:spPr>
        <p:txBody>
          <a:bodyPr wrap="square" rtlCol="0">
            <a:spAutoFit/>
          </a:bodyPr>
          <a:lstStyle/>
          <a:p>
            <a:pPr algn="ctr">
              <a:spcAft>
                <a:spcPts val="300"/>
              </a:spcAft>
            </a:pPr>
            <a:r>
              <a:rPr lang="en-GB" sz="1800" b="1">
                <a:solidFill>
                  <a:srgbClr val="0F1A42"/>
                </a:solidFill>
                <a:latin typeface="Tahoma" panose="020B0604030504040204" pitchFamily="34" charset="0"/>
                <a:ea typeface="Tahoma" panose="020B0604030504040204" pitchFamily="34" charset="0"/>
                <a:cs typeface="Tahoma" panose="020B0604030504040204" pitchFamily="34" charset="0"/>
              </a:rPr>
              <a:t>Travelling, exploring the world and its cultures</a:t>
            </a:r>
          </a:p>
        </p:txBody>
      </p:sp>
      <p:sp>
        <p:nvSpPr>
          <p:cNvPr id="21" name="TextBox 20">
            <a:extLst>
              <a:ext uri="{FF2B5EF4-FFF2-40B4-BE49-F238E27FC236}">
                <a16:creationId xmlns:a16="http://schemas.microsoft.com/office/drawing/2014/main" id="{0206AE78-4DB9-D331-9B6A-865597B684B4}"/>
              </a:ext>
            </a:extLst>
          </p:cNvPr>
          <p:cNvSpPr txBox="1"/>
          <p:nvPr/>
        </p:nvSpPr>
        <p:spPr>
          <a:xfrm>
            <a:off x="6092725" y="2124824"/>
            <a:ext cx="2847034" cy="954107"/>
          </a:xfrm>
          <a:prstGeom prst="rect">
            <a:avLst/>
          </a:prstGeom>
          <a:noFill/>
        </p:spPr>
        <p:txBody>
          <a:bodyPr wrap="square" rtlCol="0">
            <a:spAutoFit/>
          </a:bodyPr>
          <a:lstStyle/>
          <a:p>
            <a:pPr algn="ctr"/>
            <a:r>
              <a:rPr lang="en-GB" sz="1400" err="1">
                <a:solidFill>
                  <a:srgbClr val="0F1A42"/>
                </a:solidFill>
                <a:latin typeface="Tahoma" panose="020B0604030504040204" pitchFamily="34" charset="0"/>
                <a:ea typeface="Tahoma" panose="020B0604030504040204" pitchFamily="34" charset="0"/>
                <a:cs typeface="Tahoma" panose="020B0604030504040204" pitchFamily="34" charset="0"/>
              </a:rPr>
              <a:t>FlySQ</a:t>
            </a:r>
            <a:endParaRPr lang="en-GB" sz="1400">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r>
              <a:rPr lang="en-GB" sz="1400" err="1">
                <a:solidFill>
                  <a:srgbClr val="0F1A42"/>
                </a:solidFill>
                <a:latin typeface="Tahoma" panose="020B0604030504040204" pitchFamily="34" charset="0"/>
                <a:ea typeface="Tahoma" panose="020B0604030504040204" pitchFamily="34" charset="0"/>
                <a:cs typeface="Tahoma" panose="020B0604030504040204" pitchFamily="34" charset="0"/>
              </a:rPr>
              <a:t>SQfoodie</a:t>
            </a:r>
            <a:endParaRPr lang="en-GB" sz="1400">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r>
              <a:rPr lang="en-GB" sz="1400" err="1">
                <a:solidFill>
                  <a:srgbClr val="0F1A42"/>
                </a:solidFill>
                <a:latin typeface="Tahoma" panose="020B0604030504040204" pitchFamily="34" charset="0"/>
                <a:ea typeface="Tahoma" panose="020B0604030504040204" pitchFamily="34" charset="0"/>
                <a:cs typeface="Tahoma" panose="020B0604030504040204" pitchFamily="34" charset="0"/>
              </a:rPr>
              <a:t>SQavgeek</a:t>
            </a:r>
            <a:endParaRPr lang="en-GB" sz="1400">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r>
              <a:rPr lang="en-GB" sz="1400">
                <a:solidFill>
                  <a:srgbClr val="0F1A42"/>
                </a:solidFill>
                <a:latin typeface="Tahoma" panose="020B0604030504040204" pitchFamily="34" charset="0"/>
                <a:ea typeface="Tahoma" panose="020B0604030504040204" pitchFamily="34" charset="0"/>
                <a:cs typeface="Tahoma" panose="020B0604030504040204" pitchFamily="34" charset="0"/>
              </a:rPr>
              <a:t>UltimateA350Experience</a:t>
            </a:r>
          </a:p>
        </p:txBody>
      </p:sp>
      <p:sp>
        <p:nvSpPr>
          <p:cNvPr id="31" name="Arrow: Right 30">
            <a:extLst>
              <a:ext uri="{FF2B5EF4-FFF2-40B4-BE49-F238E27FC236}">
                <a16:creationId xmlns:a16="http://schemas.microsoft.com/office/drawing/2014/main" id="{4E81BDFC-D293-0BE4-BC13-EE4C8E422C58}"/>
              </a:ext>
            </a:extLst>
          </p:cNvPr>
          <p:cNvSpPr/>
          <p:nvPr/>
        </p:nvSpPr>
        <p:spPr>
          <a:xfrm>
            <a:off x="5307845" y="3919409"/>
            <a:ext cx="572992" cy="350554"/>
          </a:xfrm>
          <a:prstGeom prst="rightArrow">
            <a:avLst/>
          </a:prstGeom>
          <a:solidFill>
            <a:srgbClr val="E0880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04A9C656-5420-BB73-8379-1AA4EFF2643A}"/>
              </a:ext>
            </a:extLst>
          </p:cNvPr>
          <p:cNvGrpSpPr/>
          <p:nvPr/>
        </p:nvGrpSpPr>
        <p:grpSpPr>
          <a:xfrm>
            <a:off x="8407295" y="-28044"/>
            <a:ext cx="871964" cy="553028"/>
            <a:chOff x="8285465" y="79946"/>
            <a:chExt cx="871964" cy="553028"/>
          </a:xfrm>
        </p:grpSpPr>
        <p:sp>
          <p:nvSpPr>
            <p:cNvPr id="11" name="Google Shape;3967;p40">
              <a:extLst>
                <a:ext uri="{FF2B5EF4-FFF2-40B4-BE49-F238E27FC236}">
                  <a16:creationId xmlns:a16="http://schemas.microsoft.com/office/drawing/2014/main" id="{3205B97E-C4E5-CE64-69A9-158619638456}"/>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5" name="Graphic 14">
              <a:extLst>
                <a:ext uri="{FF2B5EF4-FFF2-40B4-BE49-F238E27FC236}">
                  <a16:creationId xmlns:a16="http://schemas.microsoft.com/office/drawing/2014/main" id="{CABF0C3F-1F6E-CFD8-E8E4-19C63C49A56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561402" y="79946"/>
              <a:ext cx="348226" cy="348226"/>
            </a:xfrm>
            <a:prstGeom prst="rect">
              <a:avLst/>
            </a:prstGeom>
          </p:spPr>
        </p:pic>
      </p:grpSp>
      <p:pic>
        <p:nvPicPr>
          <p:cNvPr id="25" name="Picture 2" descr="Hashtag with solid fill">
            <a:extLst>
              <a:ext uri="{FF2B5EF4-FFF2-40B4-BE49-F238E27FC236}">
                <a16:creationId xmlns:a16="http://schemas.microsoft.com/office/drawing/2014/main" id="{8D399E93-4EFA-4BD9-BD20-E06DA1AD2BF4}"/>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517643" y="1913318"/>
            <a:ext cx="1277273" cy="1277273"/>
          </a:xfrm>
          <a:prstGeom prst="rect">
            <a:avLst/>
          </a:prstGeom>
          <a:noFill/>
        </p:spPr>
      </p:pic>
      <p:pic>
        <p:nvPicPr>
          <p:cNvPr id="3" name="Picture 2" descr="Hashtag with solid fill">
            <a:extLst>
              <a:ext uri="{FF2B5EF4-FFF2-40B4-BE49-F238E27FC236}">
                <a16:creationId xmlns:a16="http://schemas.microsoft.com/office/drawing/2014/main" id="{229443DF-3E2E-9D13-A57A-C1F5BC253271}"/>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5307845" y="1913318"/>
            <a:ext cx="1277273" cy="1277273"/>
          </a:xfrm>
          <a:prstGeom prst="rect">
            <a:avLst/>
          </a:prstGeom>
          <a:noFill/>
        </p:spPr>
      </p:pic>
    </p:spTree>
    <p:extLst>
      <p:ext uri="{BB962C8B-B14F-4D97-AF65-F5344CB8AC3E}">
        <p14:creationId xmlns:p14="http://schemas.microsoft.com/office/powerpoint/2010/main" val="3066100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What are both brands talking about?</a:t>
            </a:r>
          </a:p>
        </p:txBody>
      </p:sp>
      <p:pic>
        <p:nvPicPr>
          <p:cNvPr id="13" name="Picture 12">
            <a:extLst>
              <a:ext uri="{FF2B5EF4-FFF2-40B4-BE49-F238E27FC236}">
                <a16:creationId xmlns:a16="http://schemas.microsoft.com/office/drawing/2014/main" id="{3DDF557D-158F-54EE-27E4-6CDE7ADE8B66}"/>
              </a:ext>
            </a:extLst>
          </p:cNvPr>
          <p:cNvPicPr>
            <a:picLocks noChangeAspect="1"/>
          </p:cNvPicPr>
          <p:nvPr/>
        </p:nvPicPr>
        <p:blipFill rotWithShape="1">
          <a:blip r:embed="rId3"/>
          <a:srcRect t="8976" r="2376" b="4594"/>
          <a:stretch/>
        </p:blipFill>
        <p:spPr>
          <a:xfrm>
            <a:off x="577998" y="786502"/>
            <a:ext cx="6271800" cy="2106476"/>
          </a:xfrm>
          <a:prstGeom prst="rect">
            <a:avLst/>
          </a:prstGeom>
        </p:spPr>
      </p:pic>
      <p:pic>
        <p:nvPicPr>
          <p:cNvPr id="7" name="Picture 6">
            <a:extLst>
              <a:ext uri="{FF2B5EF4-FFF2-40B4-BE49-F238E27FC236}">
                <a16:creationId xmlns:a16="http://schemas.microsoft.com/office/drawing/2014/main" id="{68A451FC-EA4C-1B1F-6CB8-CCA35151F35A}"/>
              </a:ext>
            </a:extLst>
          </p:cNvPr>
          <p:cNvPicPr>
            <a:picLocks noChangeAspect="1"/>
          </p:cNvPicPr>
          <p:nvPr/>
        </p:nvPicPr>
        <p:blipFill rotWithShape="1">
          <a:blip r:embed="rId4"/>
          <a:srcRect t="5733" b="5733"/>
          <a:stretch/>
        </p:blipFill>
        <p:spPr>
          <a:xfrm>
            <a:off x="577998" y="2708806"/>
            <a:ext cx="6271800" cy="2106476"/>
          </a:xfrm>
          <a:prstGeom prst="rect">
            <a:avLst/>
          </a:prstGeom>
        </p:spPr>
      </p:pic>
      <p:sp>
        <p:nvSpPr>
          <p:cNvPr id="6" name="TextBox 5">
            <a:extLst>
              <a:ext uri="{FF2B5EF4-FFF2-40B4-BE49-F238E27FC236}">
                <a16:creationId xmlns:a16="http://schemas.microsoft.com/office/drawing/2014/main" id="{CD83A89F-72A1-137C-88D6-6C3A308A4513}"/>
              </a:ext>
            </a:extLst>
          </p:cNvPr>
          <p:cNvSpPr txBox="1"/>
          <p:nvPr/>
        </p:nvSpPr>
        <p:spPr>
          <a:xfrm>
            <a:off x="6652758" y="2899231"/>
            <a:ext cx="2433767" cy="1469633"/>
          </a:xfrm>
          <a:prstGeom prst="rect">
            <a:avLst/>
          </a:prstGeom>
          <a:noFill/>
        </p:spPr>
        <p:txBody>
          <a:bodyPr wrap="square" rtlCol="0">
            <a:spAutoFit/>
          </a:bodyPr>
          <a:lstStyle/>
          <a:p>
            <a:pPr algn="ctr">
              <a:spcAft>
                <a:spcPts val="300"/>
              </a:spcAft>
            </a:pPr>
            <a:r>
              <a:rPr lang="en-GB" sz="1200" b="1" u="sng">
                <a:solidFill>
                  <a:srgbClr val="242F58"/>
                </a:solidFill>
                <a:latin typeface="Tahoma" panose="020B0604030504040204" pitchFamily="34" charset="0"/>
                <a:ea typeface="Tahoma" panose="020B0604030504040204" pitchFamily="34" charset="0"/>
                <a:cs typeface="Tahoma" panose="020B0604030504040204" pitchFamily="34" charset="0"/>
              </a:rPr>
              <a:t>Service &amp; quality</a:t>
            </a:r>
          </a:p>
          <a:p>
            <a:pPr algn="ctr">
              <a:spcAft>
                <a:spcPts val="1200"/>
              </a:spcAft>
            </a:pPr>
            <a:r>
              <a:rPr lang="en-GB" sz="1200" b="1">
                <a:solidFill>
                  <a:srgbClr val="242F58"/>
                </a:solidFill>
                <a:latin typeface="Tahoma" panose="020B0604030504040204" pitchFamily="34" charset="0"/>
                <a:ea typeface="Tahoma" panose="020B0604030504040204" pitchFamily="34" charset="0"/>
                <a:cs typeface="Tahoma" panose="020B0604030504040204" pitchFamily="34" charset="0"/>
              </a:rPr>
              <a:t>Book, board, experience, meal, onboard, view, flight …</a:t>
            </a:r>
          </a:p>
          <a:p>
            <a:pPr algn="ctr">
              <a:spcAft>
                <a:spcPts val="300"/>
              </a:spcAft>
            </a:pPr>
            <a:r>
              <a:rPr lang="en-GB" sz="1200" b="1" u="sng">
                <a:solidFill>
                  <a:srgbClr val="242F58"/>
                </a:solidFill>
                <a:latin typeface="Tahoma" panose="020B0604030504040204" pitchFamily="34" charset="0"/>
                <a:ea typeface="Tahoma" panose="020B0604030504040204" pitchFamily="34" charset="0"/>
                <a:cs typeface="Tahoma" panose="020B0604030504040204" pitchFamily="34" charset="0"/>
              </a:rPr>
              <a:t>Prompts for comments</a:t>
            </a:r>
          </a:p>
          <a:p>
            <a:pPr algn="ctr">
              <a:spcAft>
                <a:spcPts val="300"/>
              </a:spcAft>
            </a:pPr>
            <a:r>
              <a:rPr lang="en-GB" sz="1200" b="1">
                <a:solidFill>
                  <a:srgbClr val="242F58"/>
                </a:solidFill>
                <a:latin typeface="Tahoma" panose="020B0604030504040204" pitchFamily="34" charset="0"/>
                <a:ea typeface="Tahoma" panose="020B0604030504040204" pitchFamily="34" charset="0"/>
                <a:cs typeface="Tahoma" panose="020B0604030504040204" pitchFamily="34" charset="0"/>
              </a:rPr>
              <a:t>“Let us know …”</a:t>
            </a:r>
          </a:p>
          <a:p>
            <a:pPr algn="ctr">
              <a:spcAft>
                <a:spcPts val="300"/>
              </a:spcAft>
            </a:pPr>
            <a:r>
              <a:rPr lang="en-GB" sz="1200" b="1">
                <a:solidFill>
                  <a:srgbClr val="242F58"/>
                </a:solidFill>
                <a:latin typeface="Tahoma" panose="020B0604030504040204" pitchFamily="34" charset="0"/>
                <a:ea typeface="Tahoma" panose="020B0604030504040204" pitchFamily="34" charset="0"/>
                <a:cs typeface="Tahoma" panose="020B0604030504040204" pitchFamily="34" charset="0"/>
              </a:rPr>
              <a:t>“Share with us …”</a:t>
            </a:r>
          </a:p>
        </p:txBody>
      </p:sp>
      <p:sp>
        <p:nvSpPr>
          <p:cNvPr id="5" name="TextBox 4">
            <a:extLst>
              <a:ext uri="{FF2B5EF4-FFF2-40B4-BE49-F238E27FC236}">
                <a16:creationId xmlns:a16="http://schemas.microsoft.com/office/drawing/2014/main" id="{46FA20F5-397D-E656-4A82-347C9F55FBD7}"/>
              </a:ext>
            </a:extLst>
          </p:cNvPr>
          <p:cNvSpPr txBox="1"/>
          <p:nvPr/>
        </p:nvSpPr>
        <p:spPr>
          <a:xfrm>
            <a:off x="6849798" y="975785"/>
            <a:ext cx="2039689" cy="1246495"/>
          </a:xfrm>
          <a:prstGeom prst="rect">
            <a:avLst/>
          </a:prstGeom>
          <a:noFill/>
        </p:spPr>
        <p:txBody>
          <a:bodyPr wrap="square" rtlCol="0">
            <a:spAutoFit/>
          </a:bodyPr>
          <a:lstStyle/>
          <a:p>
            <a:pPr algn="ctr">
              <a:spcAft>
                <a:spcPts val="300"/>
              </a:spcAft>
            </a:pPr>
            <a:r>
              <a:rPr lang="en-GB" sz="1200" b="1" u="sng">
                <a:solidFill>
                  <a:srgbClr val="0F1A42"/>
                </a:solidFill>
                <a:latin typeface="Tahoma" panose="020B0604030504040204" pitchFamily="34" charset="0"/>
                <a:ea typeface="Tahoma" panose="020B0604030504040204" pitchFamily="34" charset="0"/>
                <a:cs typeface="Tahoma" panose="020B0604030504040204" pitchFamily="34" charset="0"/>
              </a:rPr>
              <a:t>Adventure</a:t>
            </a:r>
          </a:p>
          <a:p>
            <a:pPr algn="ctr">
              <a:spcAft>
                <a:spcPts val="1200"/>
              </a:spcAft>
            </a:pP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ravel, place, view, world, city, see …</a:t>
            </a:r>
          </a:p>
          <a:p>
            <a:pPr algn="ctr">
              <a:spcAft>
                <a:spcPts val="300"/>
              </a:spcAft>
            </a:pPr>
            <a:r>
              <a:rPr lang="en-GB" sz="1200" b="1" u="sng">
                <a:solidFill>
                  <a:srgbClr val="0F1A42"/>
                </a:solidFill>
                <a:latin typeface="Tahoma" panose="020B0604030504040204" pitchFamily="34" charset="0"/>
                <a:ea typeface="Tahoma" panose="020B0604030504040204" pitchFamily="34" charset="0"/>
                <a:cs typeface="Tahoma" panose="020B0604030504040204" pitchFamily="34" charset="0"/>
              </a:rPr>
              <a:t>Follower-taken photos</a:t>
            </a:r>
          </a:p>
          <a:p>
            <a:pPr algn="ctr">
              <a:spcAft>
                <a:spcPts val="300"/>
              </a:spcAft>
            </a:pP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Photo by …”</a:t>
            </a:r>
          </a:p>
        </p:txBody>
      </p:sp>
      <p:grpSp>
        <p:nvGrpSpPr>
          <p:cNvPr id="8" name="Group 7">
            <a:extLst>
              <a:ext uri="{FF2B5EF4-FFF2-40B4-BE49-F238E27FC236}">
                <a16:creationId xmlns:a16="http://schemas.microsoft.com/office/drawing/2014/main" id="{F21039D4-2845-C08B-8000-9E84C3E4DCED}"/>
              </a:ext>
            </a:extLst>
          </p:cNvPr>
          <p:cNvGrpSpPr/>
          <p:nvPr/>
        </p:nvGrpSpPr>
        <p:grpSpPr>
          <a:xfrm>
            <a:off x="8407295" y="-28044"/>
            <a:ext cx="871964" cy="553028"/>
            <a:chOff x="8285465" y="79946"/>
            <a:chExt cx="871964" cy="553028"/>
          </a:xfrm>
        </p:grpSpPr>
        <p:sp>
          <p:nvSpPr>
            <p:cNvPr id="10" name="Google Shape;3967;p40">
              <a:extLst>
                <a:ext uri="{FF2B5EF4-FFF2-40B4-BE49-F238E27FC236}">
                  <a16:creationId xmlns:a16="http://schemas.microsoft.com/office/drawing/2014/main" id="{5D79B420-4EF8-CB3B-39D9-52A4755B5B6F}"/>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4" name="Graphic 13">
              <a:extLst>
                <a:ext uri="{FF2B5EF4-FFF2-40B4-BE49-F238E27FC236}">
                  <a16:creationId xmlns:a16="http://schemas.microsoft.com/office/drawing/2014/main" id="{379FF1D2-67BF-B45F-1C19-CD621604D81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561402" y="79946"/>
              <a:ext cx="348226" cy="348226"/>
            </a:xfrm>
            <a:prstGeom prst="rect">
              <a:avLst/>
            </a:prstGeom>
          </p:spPr>
        </p:pic>
      </p:grpSp>
      <p:pic>
        <p:nvPicPr>
          <p:cNvPr id="9" name="Picture 8">
            <a:extLst>
              <a:ext uri="{FF2B5EF4-FFF2-40B4-BE49-F238E27FC236}">
                <a16:creationId xmlns:a16="http://schemas.microsoft.com/office/drawing/2014/main" id="{99EA8189-3E82-51F9-0234-972CC8821B81}"/>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Layer>
                </a14:imgProps>
              </a:ext>
            </a:extLst>
          </a:blip>
          <a:stretch>
            <a:fillRect/>
          </a:stretch>
        </p:blipFill>
        <p:spPr>
          <a:xfrm>
            <a:off x="231365" y="1227233"/>
            <a:ext cx="341214" cy="1225014"/>
          </a:xfrm>
          <a:prstGeom prst="rect">
            <a:avLst/>
          </a:prstGeom>
        </p:spPr>
      </p:pic>
      <p:pic>
        <p:nvPicPr>
          <p:cNvPr id="11" name="Picture 10">
            <a:extLst>
              <a:ext uri="{FF2B5EF4-FFF2-40B4-BE49-F238E27FC236}">
                <a16:creationId xmlns:a16="http://schemas.microsoft.com/office/drawing/2014/main" id="{84C4BB19-A3C7-E867-3E80-E9CB19C0D623}"/>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120948" y="3293492"/>
            <a:ext cx="562048" cy="1246842"/>
          </a:xfrm>
          <a:prstGeom prst="rect">
            <a:avLst/>
          </a:prstGeom>
        </p:spPr>
      </p:pic>
    </p:spTree>
    <p:extLst>
      <p:ext uri="{BB962C8B-B14F-4D97-AF65-F5344CB8AC3E}">
        <p14:creationId xmlns:p14="http://schemas.microsoft.com/office/powerpoint/2010/main" val="2664502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90922"/>
            <a:ext cx="7704000" cy="572700"/>
          </a:xfrm>
        </p:spPr>
        <p:txBody>
          <a:bodyPr/>
          <a:lstStyle/>
          <a:p>
            <a:r>
              <a:rPr lang="en-GB" sz="2800"/>
              <a:t>This difference in focus also translates INTO the </a:t>
            </a:r>
            <a:r>
              <a:rPr lang="en-GB" sz="2800">
                <a:solidFill>
                  <a:schemeClr val="bg1">
                    <a:lumMod val="50000"/>
                  </a:schemeClr>
                </a:solidFill>
              </a:rPr>
              <a:t>visuals</a:t>
            </a:r>
          </a:p>
        </p:txBody>
      </p:sp>
      <p:pic>
        <p:nvPicPr>
          <p:cNvPr id="5" name="Graphic 4" descr="Take Off with solid fill">
            <a:extLst>
              <a:ext uri="{FF2B5EF4-FFF2-40B4-BE49-F238E27FC236}">
                <a16:creationId xmlns:a16="http://schemas.microsoft.com/office/drawing/2014/main" id="{3F363F3A-56A3-D973-2436-D2228B860BC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30769"/>
          <a:stretch/>
        </p:blipFill>
        <p:spPr>
          <a:xfrm>
            <a:off x="660050" y="951698"/>
            <a:ext cx="1362075" cy="942975"/>
          </a:xfrm>
          <a:prstGeom prst="rect">
            <a:avLst/>
          </a:prstGeom>
        </p:spPr>
      </p:pic>
      <p:sp>
        <p:nvSpPr>
          <p:cNvPr id="6" name="TextBox 5">
            <a:extLst>
              <a:ext uri="{FF2B5EF4-FFF2-40B4-BE49-F238E27FC236}">
                <a16:creationId xmlns:a16="http://schemas.microsoft.com/office/drawing/2014/main" id="{E740D4EB-7415-A258-B1A5-1474CBEDF5CD}"/>
              </a:ext>
            </a:extLst>
          </p:cNvPr>
          <p:cNvSpPr txBox="1"/>
          <p:nvPr/>
        </p:nvSpPr>
        <p:spPr>
          <a:xfrm>
            <a:off x="136402" y="1763729"/>
            <a:ext cx="2409370" cy="1031051"/>
          </a:xfrm>
          <a:prstGeom prst="rect">
            <a:avLst/>
          </a:prstGeom>
          <a:noFill/>
        </p:spPr>
        <p:txBody>
          <a:bodyPr wrap="square" rtlCol="0">
            <a:spAutoFit/>
          </a:bodyPr>
          <a:lstStyle/>
          <a:p>
            <a:pPr algn="ctr">
              <a:spcAft>
                <a:spcPts val="600"/>
              </a:spcAft>
            </a:pPr>
            <a:r>
              <a:rPr lang="en-GB" sz="2800" b="1">
                <a:solidFill>
                  <a:srgbClr val="242F58"/>
                </a:solidFill>
                <a:latin typeface="Tahoma" panose="020B0604030504040204" pitchFamily="34" charset="0"/>
                <a:ea typeface="Tahoma" panose="020B0604030504040204" pitchFamily="34" charset="0"/>
                <a:cs typeface="Tahoma" panose="020B0604030504040204" pitchFamily="34" charset="0"/>
              </a:rPr>
              <a:t>22%</a:t>
            </a:r>
          </a:p>
          <a:p>
            <a:pPr algn="ctr">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Of posts contain airplanes</a:t>
            </a:r>
          </a:p>
        </p:txBody>
      </p:sp>
      <p:pic>
        <p:nvPicPr>
          <p:cNvPr id="7" name="Picture 6" descr="A logo with blue and yellow stripes&#10;&#10;Description automatically generated">
            <a:extLst>
              <a:ext uri="{FF2B5EF4-FFF2-40B4-BE49-F238E27FC236}">
                <a16:creationId xmlns:a16="http://schemas.microsoft.com/office/drawing/2014/main" id="{55C01CAB-1C3C-A01C-BBEE-5EC4C37AD131}"/>
              </a:ext>
            </a:extLst>
          </p:cNvPr>
          <p:cNvPicPr>
            <a:picLocks noChangeAspect="1"/>
          </p:cNvPicPr>
          <p:nvPr/>
        </p:nvPicPr>
        <p:blipFill>
          <a:blip r:embed="rId5"/>
          <a:stretch>
            <a:fillRect/>
          </a:stretch>
        </p:blipFill>
        <p:spPr>
          <a:xfrm>
            <a:off x="7267461" y="1054904"/>
            <a:ext cx="1335032" cy="839769"/>
          </a:xfrm>
          <a:prstGeom prst="rect">
            <a:avLst/>
          </a:prstGeom>
        </p:spPr>
      </p:pic>
      <p:pic>
        <p:nvPicPr>
          <p:cNvPr id="8" name="Picture 7" descr="A logo on a black background&#10;&#10;Description automatically generated">
            <a:extLst>
              <a:ext uri="{FF2B5EF4-FFF2-40B4-BE49-F238E27FC236}">
                <a16:creationId xmlns:a16="http://schemas.microsoft.com/office/drawing/2014/main" id="{A9C80894-5B81-A639-44BC-E1DBC7A09FF9}"/>
              </a:ext>
            </a:extLst>
          </p:cNvPr>
          <p:cNvPicPr>
            <a:picLocks noChangeAspect="1"/>
          </p:cNvPicPr>
          <p:nvPr/>
        </p:nvPicPr>
        <p:blipFill rotWithShape="1">
          <a:blip r:embed="rId6"/>
          <a:srcRect l="10842" t="37933" r="10764" b="38549"/>
          <a:stretch/>
        </p:blipFill>
        <p:spPr>
          <a:xfrm>
            <a:off x="2545770" y="1324069"/>
            <a:ext cx="1534534" cy="306907"/>
          </a:xfrm>
          <a:prstGeom prst="rect">
            <a:avLst/>
          </a:prstGeom>
        </p:spPr>
      </p:pic>
      <p:sp>
        <p:nvSpPr>
          <p:cNvPr id="20" name="TextBox 19">
            <a:extLst>
              <a:ext uri="{FF2B5EF4-FFF2-40B4-BE49-F238E27FC236}">
                <a16:creationId xmlns:a16="http://schemas.microsoft.com/office/drawing/2014/main" id="{F380B8B0-FD14-3714-534D-3EBB87F89FCB}"/>
              </a:ext>
            </a:extLst>
          </p:cNvPr>
          <p:cNvSpPr txBox="1"/>
          <p:nvPr/>
        </p:nvSpPr>
        <p:spPr>
          <a:xfrm>
            <a:off x="2322801" y="1763729"/>
            <a:ext cx="2162629" cy="1031051"/>
          </a:xfrm>
          <a:prstGeom prst="rect">
            <a:avLst/>
          </a:prstGeom>
          <a:noFill/>
        </p:spPr>
        <p:txBody>
          <a:bodyPr wrap="square" rtlCol="0">
            <a:spAutoFit/>
          </a:bodyPr>
          <a:lstStyle/>
          <a:p>
            <a:pPr algn="ctr">
              <a:spcAft>
                <a:spcPts val="600"/>
              </a:spcAft>
            </a:pPr>
            <a:r>
              <a:rPr lang="en-GB" sz="2800" b="1">
                <a:solidFill>
                  <a:srgbClr val="242F58"/>
                </a:solidFill>
                <a:latin typeface="Tahoma" panose="020B0604030504040204" pitchFamily="34" charset="0"/>
                <a:ea typeface="Tahoma" panose="020B0604030504040204" pitchFamily="34" charset="0"/>
                <a:cs typeface="Tahoma" panose="020B0604030504040204" pitchFamily="34" charset="0"/>
              </a:rPr>
              <a:t>10%</a:t>
            </a:r>
          </a:p>
          <a:p>
            <a:pPr algn="ctr">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Of posts show the brand logo</a:t>
            </a:r>
          </a:p>
        </p:txBody>
      </p:sp>
      <p:sp>
        <p:nvSpPr>
          <p:cNvPr id="21" name="TextBox 20">
            <a:extLst>
              <a:ext uri="{FF2B5EF4-FFF2-40B4-BE49-F238E27FC236}">
                <a16:creationId xmlns:a16="http://schemas.microsoft.com/office/drawing/2014/main" id="{60784D49-DB53-7F47-CB8C-1CB1878A4952}"/>
              </a:ext>
            </a:extLst>
          </p:cNvPr>
          <p:cNvSpPr txBox="1"/>
          <p:nvPr/>
        </p:nvSpPr>
        <p:spPr>
          <a:xfrm>
            <a:off x="4452970" y="1763729"/>
            <a:ext cx="2409370" cy="1031051"/>
          </a:xfrm>
          <a:prstGeom prst="rect">
            <a:avLst/>
          </a:prstGeom>
          <a:noFill/>
        </p:spPr>
        <p:txBody>
          <a:bodyPr wrap="square" rtlCol="0">
            <a:spAutoFit/>
          </a:bodyPr>
          <a:lstStyle/>
          <a:p>
            <a:pPr algn="ctr">
              <a:spcAft>
                <a:spcPts val="600"/>
              </a:spcAft>
            </a:pPr>
            <a:r>
              <a:rPr lang="en-GB" sz="2800" b="1">
                <a:solidFill>
                  <a:srgbClr val="E08806"/>
                </a:solidFill>
                <a:latin typeface="Tahoma" panose="020B0604030504040204" pitchFamily="34" charset="0"/>
                <a:ea typeface="Tahoma" panose="020B0604030504040204" pitchFamily="34" charset="0"/>
                <a:cs typeface="Tahoma" panose="020B0604030504040204" pitchFamily="34" charset="0"/>
              </a:rPr>
              <a:t>33%</a:t>
            </a:r>
          </a:p>
          <a:p>
            <a:pPr algn="ctr">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Of posts contain airplanes</a:t>
            </a:r>
          </a:p>
        </p:txBody>
      </p:sp>
      <p:sp>
        <p:nvSpPr>
          <p:cNvPr id="22" name="TextBox 21">
            <a:extLst>
              <a:ext uri="{FF2B5EF4-FFF2-40B4-BE49-F238E27FC236}">
                <a16:creationId xmlns:a16="http://schemas.microsoft.com/office/drawing/2014/main" id="{45202B0B-3C0F-7F2B-9075-FDDE3325DE55}"/>
              </a:ext>
            </a:extLst>
          </p:cNvPr>
          <p:cNvSpPr txBox="1"/>
          <p:nvPr/>
        </p:nvSpPr>
        <p:spPr>
          <a:xfrm>
            <a:off x="6888517" y="1787818"/>
            <a:ext cx="2162629" cy="1031051"/>
          </a:xfrm>
          <a:prstGeom prst="rect">
            <a:avLst/>
          </a:prstGeom>
          <a:noFill/>
        </p:spPr>
        <p:txBody>
          <a:bodyPr wrap="square" rtlCol="0">
            <a:spAutoFit/>
          </a:bodyPr>
          <a:lstStyle/>
          <a:p>
            <a:pPr algn="ctr">
              <a:spcAft>
                <a:spcPts val="600"/>
              </a:spcAft>
            </a:pPr>
            <a:r>
              <a:rPr lang="en-GB" sz="2800" b="1">
                <a:solidFill>
                  <a:srgbClr val="E08806"/>
                </a:solidFill>
                <a:latin typeface="Tahoma" panose="020B0604030504040204" pitchFamily="34" charset="0"/>
                <a:ea typeface="Tahoma" panose="020B0604030504040204" pitchFamily="34" charset="0"/>
                <a:cs typeface="Tahoma" panose="020B0604030504040204" pitchFamily="34" charset="0"/>
              </a:rPr>
              <a:t>13%</a:t>
            </a:r>
          </a:p>
          <a:p>
            <a:pPr algn="ctr">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Of posts show the brand logo</a:t>
            </a:r>
          </a:p>
        </p:txBody>
      </p:sp>
      <p:pic>
        <p:nvPicPr>
          <p:cNvPr id="23" name="Graphic 22" descr="Take Off with solid fill">
            <a:extLst>
              <a:ext uri="{FF2B5EF4-FFF2-40B4-BE49-F238E27FC236}">
                <a16:creationId xmlns:a16="http://schemas.microsoft.com/office/drawing/2014/main" id="{2055140F-8C12-A57F-BFAE-0500E543AA4C}"/>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30769"/>
          <a:stretch/>
        </p:blipFill>
        <p:spPr>
          <a:xfrm>
            <a:off x="4976615" y="951698"/>
            <a:ext cx="1362075" cy="942975"/>
          </a:xfrm>
          <a:prstGeom prst="rect">
            <a:avLst/>
          </a:prstGeom>
        </p:spPr>
      </p:pic>
      <p:pic>
        <p:nvPicPr>
          <p:cNvPr id="29" name="Picture 28">
            <a:extLst>
              <a:ext uri="{FF2B5EF4-FFF2-40B4-BE49-F238E27FC236}">
                <a16:creationId xmlns:a16="http://schemas.microsoft.com/office/drawing/2014/main" id="{53CD30BE-E1C0-F7C8-7518-95D8C3B57AD3}"/>
              </a:ext>
            </a:extLst>
          </p:cNvPr>
          <p:cNvPicPr>
            <a:picLocks noChangeAspect="1"/>
          </p:cNvPicPr>
          <p:nvPr/>
        </p:nvPicPr>
        <p:blipFill rotWithShape="1">
          <a:blip r:embed="rId9"/>
          <a:srcRect l="10836" t="3349" r="493" b="8134"/>
          <a:stretch/>
        </p:blipFill>
        <p:spPr>
          <a:xfrm>
            <a:off x="2499647" y="2960680"/>
            <a:ext cx="1850951" cy="1817282"/>
          </a:xfrm>
          <a:prstGeom prst="rect">
            <a:avLst/>
          </a:prstGeom>
        </p:spPr>
      </p:pic>
      <p:pic>
        <p:nvPicPr>
          <p:cNvPr id="34" name="Picture 33">
            <a:extLst>
              <a:ext uri="{FF2B5EF4-FFF2-40B4-BE49-F238E27FC236}">
                <a16:creationId xmlns:a16="http://schemas.microsoft.com/office/drawing/2014/main" id="{B4E22D2F-2330-688C-974A-3CFD13EEF625}"/>
              </a:ext>
            </a:extLst>
          </p:cNvPr>
          <p:cNvPicPr>
            <a:picLocks noChangeAspect="1"/>
          </p:cNvPicPr>
          <p:nvPr/>
        </p:nvPicPr>
        <p:blipFill rotWithShape="1">
          <a:blip r:embed="rId10"/>
          <a:srcRect t="4902" b="4902"/>
          <a:stretch/>
        </p:blipFill>
        <p:spPr>
          <a:xfrm>
            <a:off x="4606641" y="2957401"/>
            <a:ext cx="2018462" cy="1820561"/>
          </a:xfrm>
          <a:prstGeom prst="rect">
            <a:avLst/>
          </a:prstGeom>
        </p:spPr>
      </p:pic>
      <p:sp>
        <p:nvSpPr>
          <p:cNvPr id="36" name="Rectangle 35">
            <a:extLst>
              <a:ext uri="{FF2B5EF4-FFF2-40B4-BE49-F238E27FC236}">
                <a16:creationId xmlns:a16="http://schemas.microsoft.com/office/drawing/2014/main" id="{8CA3B6EE-6C13-0BED-03DE-B47EBDE2A815}"/>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7106B748-312F-174E-BED7-895C40BE0B01}"/>
              </a:ext>
            </a:extLst>
          </p:cNvPr>
          <p:cNvPicPr>
            <a:picLocks noChangeAspect="1"/>
          </p:cNvPicPr>
          <p:nvPr/>
        </p:nvPicPr>
        <p:blipFill rotWithShape="1">
          <a:blip r:embed="rId11"/>
          <a:srcRect l="6004" t="-824" r="2295" b="17695"/>
          <a:stretch/>
        </p:blipFill>
        <p:spPr>
          <a:xfrm>
            <a:off x="392653" y="2927533"/>
            <a:ext cx="1850951" cy="1827077"/>
          </a:xfrm>
          <a:prstGeom prst="rect">
            <a:avLst/>
          </a:prstGeom>
        </p:spPr>
      </p:pic>
      <p:pic>
        <p:nvPicPr>
          <p:cNvPr id="24" name="Picture 23" descr="Two women standing in front of a building&#10;&#10;Description automatically generated">
            <a:extLst>
              <a:ext uri="{FF2B5EF4-FFF2-40B4-BE49-F238E27FC236}">
                <a16:creationId xmlns:a16="http://schemas.microsoft.com/office/drawing/2014/main" id="{ECB20934-99CF-3AB7-993E-184C4C0EEFA6}"/>
              </a:ext>
            </a:extLst>
          </p:cNvPr>
          <p:cNvPicPr>
            <a:picLocks noChangeAspect="1"/>
          </p:cNvPicPr>
          <p:nvPr/>
        </p:nvPicPr>
        <p:blipFill rotWithShape="1">
          <a:blip r:embed="rId12"/>
          <a:srcRect r="8742"/>
          <a:stretch/>
        </p:blipFill>
        <p:spPr>
          <a:xfrm>
            <a:off x="6787753" y="2927533"/>
            <a:ext cx="2263393" cy="1884380"/>
          </a:xfrm>
          <a:prstGeom prst="rect">
            <a:avLst/>
          </a:prstGeom>
        </p:spPr>
      </p:pic>
      <p:cxnSp>
        <p:nvCxnSpPr>
          <p:cNvPr id="3" name="Straight Connector 2">
            <a:extLst>
              <a:ext uri="{FF2B5EF4-FFF2-40B4-BE49-F238E27FC236}">
                <a16:creationId xmlns:a16="http://schemas.microsoft.com/office/drawing/2014/main" id="{5BA48773-14DB-337D-2812-B4694652E13D}"/>
              </a:ext>
            </a:extLst>
          </p:cNvPr>
          <p:cNvCxnSpPr>
            <a:cxnSpLocks/>
          </p:cNvCxnSpPr>
          <p:nvPr/>
        </p:nvCxnSpPr>
        <p:spPr>
          <a:xfrm>
            <a:off x="4452970" y="1043677"/>
            <a:ext cx="0" cy="3904334"/>
          </a:xfrm>
          <a:prstGeom prst="line">
            <a:avLst/>
          </a:prstGeom>
          <a:ln w="28575">
            <a:solidFill>
              <a:srgbClr val="0A1D3D"/>
            </a:solidFill>
            <a:prstDash val="lgDash"/>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995D7AE-6B83-E391-8245-C239CA58557B}"/>
              </a:ext>
            </a:extLst>
          </p:cNvPr>
          <p:cNvGrpSpPr/>
          <p:nvPr/>
        </p:nvGrpSpPr>
        <p:grpSpPr>
          <a:xfrm>
            <a:off x="8407295" y="-28044"/>
            <a:ext cx="871964" cy="553028"/>
            <a:chOff x="8285465" y="79946"/>
            <a:chExt cx="871964" cy="553028"/>
          </a:xfrm>
        </p:grpSpPr>
        <p:sp>
          <p:nvSpPr>
            <p:cNvPr id="13" name="Google Shape;3967;p40">
              <a:extLst>
                <a:ext uri="{FF2B5EF4-FFF2-40B4-BE49-F238E27FC236}">
                  <a16:creationId xmlns:a16="http://schemas.microsoft.com/office/drawing/2014/main" id="{AFBEBB9D-B80F-476A-A33F-0A331D153113}"/>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4" name="Graphic 13">
              <a:extLst>
                <a:ext uri="{FF2B5EF4-FFF2-40B4-BE49-F238E27FC236}">
                  <a16:creationId xmlns:a16="http://schemas.microsoft.com/office/drawing/2014/main" id="{E91708A9-384B-BB99-DDAD-03B8C3C6F69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561402" y="79946"/>
              <a:ext cx="348226" cy="348226"/>
            </a:xfrm>
            <a:prstGeom prst="rect">
              <a:avLst/>
            </a:prstGeom>
          </p:spPr>
        </p:pic>
      </p:grpSp>
    </p:spTree>
    <p:extLst>
      <p:ext uri="{BB962C8B-B14F-4D97-AF65-F5344CB8AC3E}">
        <p14:creationId xmlns:p14="http://schemas.microsoft.com/office/powerpoint/2010/main" val="1185835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ED73C587-B16F-9826-0C82-8B794C75E465}"/>
              </a:ext>
            </a:extLst>
          </p:cNvPr>
          <p:cNvPicPr>
            <a:picLocks noChangeAspect="1"/>
          </p:cNvPicPr>
          <p:nvPr/>
        </p:nvPicPr>
        <p:blipFill>
          <a:blip r:embed="rId3"/>
          <a:stretch>
            <a:fillRect/>
          </a:stretch>
        </p:blipFill>
        <p:spPr>
          <a:xfrm>
            <a:off x="4712961" y="1544397"/>
            <a:ext cx="4081589" cy="2399631"/>
          </a:xfrm>
          <a:prstGeom prst="rect">
            <a:avLst/>
          </a:prstGeom>
        </p:spPr>
      </p:pic>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517742" y="208723"/>
            <a:ext cx="8397658" cy="572700"/>
          </a:xfrm>
        </p:spPr>
        <p:txBody>
          <a:bodyPr/>
          <a:lstStyle/>
          <a:p>
            <a:r>
              <a:rPr lang="en-GB"/>
              <a:t>Lufthansa EXPERIMENTS MORE IN ITS ASPECT RATIO’s</a:t>
            </a:r>
            <a:r>
              <a:rPr lang="en-GB" baseline="30000"/>
              <a:t>1</a:t>
            </a:r>
            <a:endParaRPr lang="en-GB"/>
          </a:p>
        </p:txBody>
      </p:sp>
      <p:pic>
        <p:nvPicPr>
          <p:cNvPr id="7" name="Picture 6" descr="A logo with blue and yellow stripes&#10;&#10;Description automatically generated">
            <a:extLst>
              <a:ext uri="{FF2B5EF4-FFF2-40B4-BE49-F238E27FC236}">
                <a16:creationId xmlns:a16="http://schemas.microsoft.com/office/drawing/2014/main" id="{55C01CAB-1C3C-A01C-BBEE-5EC4C37AD131}"/>
              </a:ext>
            </a:extLst>
          </p:cNvPr>
          <p:cNvPicPr>
            <a:picLocks noChangeAspect="1"/>
          </p:cNvPicPr>
          <p:nvPr/>
        </p:nvPicPr>
        <p:blipFill>
          <a:blip r:embed="rId4"/>
          <a:stretch>
            <a:fillRect/>
          </a:stretch>
        </p:blipFill>
        <p:spPr>
          <a:xfrm>
            <a:off x="6093253" y="781423"/>
            <a:ext cx="1513091" cy="951773"/>
          </a:xfrm>
          <a:prstGeom prst="rect">
            <a:avLst/>
          </a:prstGeom>
        </p:spPr>
      </p:pic>
      <p:pic>
        <p:nvPicPr>
          <p:cNvPr id="8" name="Picture 7" descr="A logo on a black background&#10;&#10;Description automatically generated">
            <a:extLst>
              <a:ext uri="{FF2B5EF4-FFF2-40B4-BE49-F238E27FC236}">
                <a16:creationId xmlns:a16="http://schemas.microsoft.com/office/drawing/2014/main" id="{A9C80894-5B81-A639-44BC-E1DBC7A09FF9}"/>
              </a:ext>
            </a:extLst>
          </p:cNvPr>
          <p:cNvPicPr>
            <a:picLocks noChangeAspect="1"/>
          </p:cNvPicPr>
          <p:nvPr/>
        </p:nvPicPr>
        <p:blipFill rotWithShape="1">
          <a:blip r:embed="rId5"/>
          <a:srcRect l="10842" t="37933" r="10764" b="38549"/>
          <a:stretch/>
        </p:blipFill>
        <p:spPr>
          <a:xfrm>
            <a:off x="1600419" y="1107329"/>
            <a:ext cx="1947090" cy="389418"/>
          </a:xfrm>
          <a:prstGeom prst="rect">
            <a:avLst/>
          </a:prstGeom>
        </p:spPr>
      </p:pic>
      <p:grpSp>
        <p:nvGrpSpPr>
          <p:cNvPr id="19" name="Group 18">
            <a:extLst>
              <a:ext uri="{FF2B5EF4-FFF2-40B4-BE49-F238E27FC236}">
                <a16:creationId xmlns:a16="http://schemas.microsoft.com/office/drawing/2014/main" id="{4BC6C926-8CD9-0FEC-40EC-E91A56B4F9A1}"/>
              </a:ext>
            </a:extLst>
          </p:cNvPr>
          <p:cNvGrpSpPr/>
          <p:nvPr/>
        </p:nvGrpSpPr>
        <p:grpSpPr>
          <a:xfrm>
            <a:off x="460451" y="1496747"/>
            <a:ext cx="4081267" cy="2398486"/>
            <a:chOff x="460451" y="1496747"/>
            <a:chExt cx="4081267" cy="2398486"/>
          </a:xfrm>
        </p:grpSpPr>
        <p:pic>
          <p:nvPicPr>
            <p:cNvPr id="2050" name="Picture 2" descr="Instagram Photo Size">
              <a:extLst>
                <a:ext uri="{FF2B5EF4-FFF2-40B4-BE49-F238E27FC236}">
                  <a16:creationId xmlns:a16="http://schemas.microsoft.com/office/drawing/2014/main" id="{1F7CE9FB-2E3B-364F-4685-F737DDC2601E}"/>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9947" b="90409" l="9961" r="89941">
                          <a14:foregroundMark x1="44922" y1="43872" x2="44336" y2="52398"/>
                          <a14:foregroundMark x1="45898" y1="75844" x2="48633" y2="75844"/>
                          <a14:foregroundMark x1="27148" y1="90409" x2="31152" y2="90231"/>
                          <a14:foregroundMark x1="28516" y1="90053" x2="29688" y2="89698"/>
                          <a14:foregroundMark x1="28418" y1="39432" x2="28418" y2="39432"/>
                          <a14:foregroundMark x1="70703" y1="38899" x2="70020" y2="66252"/>
                        </a14:backgroundRemoval>
                      </a14:imgEffect>
                      <a14:imgEffect>
                        <a14:sharpenSoften amount="50000"/>
                      </a14:imgEffect>
                    </a14:imgLayer>
                  </a14:imgProps>
                </a:ext>
                <a:ext uri="{28A0092B-C50C-407E-A947-70E740481C1C}">
                  <a14:useLocalDpi xmlns:a14="http://schemas.microsoft.com/office/drawing/2010/main" val="0"/>
                </a:ext>
              </a:extLst>
            </a:blip>
            <a:srcRect l="18469" t="31491" r="59405" b="7020"/>
            <a:stretch/>
          </p:blipFill>
          <p:spPr bwMode="auto">
            <a:xfrm>
              <a:off x="460451" y="1496747"/>
              <a:ext cx="1569699" cy="23984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nstagram Photo Size">
              <a:extLst>
                <a:ext uri="{FF2B5EF4-FFF2-40B4-BE49-F238E27FC236}">
                  <a16:creationId xmlns:a16="http://schemas.microsoft.com/office/drawing/2014/main" id="{0AA49892-4426-DCAE-2F7B-D8D8B1FF9703}"/>
                </a:ext>
              </a:extLst>
            </p:cNvPr>
            <p:cNvPicPr>
              <a:picLocks noChangeAspect="1" noChangeArrowheads="1"/>
            </p:cNvPicPr>
            <p:nvPr/>
          </p:nvPicPr>
          <p:blipFill rotWithShape="1">
            <a:blip r:embed="rId8">
              <a:extLst>
                <a:ext uri="{BEBA8EAE-BF5A-486C-A8C5-ECC9F3942E4B}">
                  <a14:imgProps xmlns:a14="http://schemas.microsoft.com/office/drawing/2010/main">
                    <a14:imgLayer r:embed="rId7">
                      <a14:imgEffect>
                        <a14:backgroundRemoval t="9947" b="90409" l="9961" r="89941">
                          <a14:foregroundMark x1="44922" y1="43872" x2="44336" y2="52398"/>
                          <a14:foregroundMark x1="45898" y1="75844" x2="48633" y2="75844"/>
                          <a14:foregroundMark x1="27148" y1="90409" x2="31152" y2="90231"/>
                          <a14:foregroundMark x1="28516" y1="90053" x2="29688" y2="89698"/>
                          <a14:foregroundMark x1="28418" y1="39432" x2="28418" y2="39432"/>
                          <a14:foregroundMark x1="70703" y1="38899" x2="70020" y2="66252"/>
                        </a14:backgroundRemoval>
                      </a14:imgEffect>
                      <a14:imgEffect>
                        <a14:sharpenSoften amount="50000"/>
                      </a14:imgEffect>
                    </a14:imgLayer>
                  </a14:imgProps>
                </a:ext>
                <a:ext uri="{28A0092B-C50C-407E-A947-70E740481C1C}">
                  <a14:useLocalDpi xmlns:a14="http://schemas.microsoft.com/office/drawing/2010/main" val="0"/>
                </a:ext>
              </a:extLst>
            </a:blip>
            <a:srcRect l="39889" t="31492" r="39989" b="19655"/>
            <a:stretch/>
          </p:blipFill>
          <p:spPr bwMode="auto">
            <a:xfrm>
              <a:off x="1931635" y="1542915"/>
              <a:ext cx="1284659" cy="171476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nstagram Photo Size">
              <a:extLst>
                <a:ext uri="{FF2B5EF4-FFF2-40B4-BE49-F238E27FC236}">
                  <a16:creationId xmlns:a16="http://schemas.microsoft.com/office/drawing/2014/main" id="{57F8B5C0-BC80-B475-AB8B-D45F3A725296}"/>
                </a:ext>
              </a:extLst>
            </p:cNvPr>
            <p:cNvPicPr>
              <a:picLocks noChangeAspect="1" noChangeArrowheads="1"/>
            </p:cNvPicPr>
            <p:nvPr/>
          </p:nvPicPr>
          <p:blipFill rotWithShape="1">
            <a:blip r:embed="rId8">
              <a:extLst>
                <a:ext uri="{BEBA8EAE-BF5A-486C-A8C5-ECC9F3942E4B}">
                  <a14:imgProps xmlns:a14="http://schemas.microsoft.com/office/drawing/2010/main">
                    <a14:imgLayer r:embed="rId7">
                      <a14:imgEffect>
                        <a14:backgroundRemoval t="9947" b="90409" l="9961" r="89941">
                          <a14:foregroundMark x1="44922" y1="43872" x2="44336" y2="52398"/>
                          <a14:foregroundMark x1="45898" y1="75844" x2="48633" y2="75844"/>
                          <a14:foregroundMark x1="27148" y1="90409" x2="31152" y2="90231"/>
                          <a14:foregroundMark x1="28516" y1="90053" x2="29688" y2="89698"/>
                          <a14:foregroundMark x1="28418" y1="39432" x2="28418" y2="39432"/>
                          <a14:foregroundMark x1="70703" y1="38899" x2="70020" y2="66252"/>
                        </a14:backgroundRemoval>
                      </a14:imgEffect>
                      <a14:imgEffect>
                        <a14:sharpenSoften amount="50000"/>
                      </a14:imgEffect>
                    </a14:imgLayer>
                  </a14:imgProps>
                </a:ext>
                <a:ext uri="{28A0092B-C50C-407E-A947-70E740481C1C}">
                  <a14:useLocalDpi xmlns:a14="http://schemas.microsoft.com/office/drawing/2010/main" val="0"/>
                </a:ext>
              </a:extLst>
            </a:blip>
            <a:srcRect l="61255" t="31636" r="18622" b="30003"/>
            <a:stretch/>
          </p:blipFill>
          <p:spPr bwMode="auto">
            <a:xfrm>
              <a:off x="3188154" y="1542915"/>
              <a:ext cx="1353564" cy="141873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41B5ADB8-6556-0A96-3D64-CD623147197B}"/>
              </a:ext>
            </a:extLst>
          </p:cNvPr>
          <p:cNvSpPr txBox="1"/>
          <p:nvPr/>
        </p:nvSpPr>
        <p:spPr>
          <a:xfrm>
            <a:off x="517742" y="3898647"/>
            <a:ext cx="1310862" cy="815608"/>
          </a:xfrm>
          <a:prstGeom prst="rect">
            <a:avLst/>
          </a:prstGeom>
          <a:noFill/>
        </p:spPr>
        <p:txBody>
          <a:bodyPr wrap="square" rtlCol="0">
            <a:spAutoFit/>
          </a:bodyPr>
          <a:lstStyle/>
          <a:p>
            <a:pPr algn="ctr">
              <a:spcAft>
                <a:spcPts val="600"/>
              </a:spcAft>
            </a:pPr>
            <a:r>
              <a:rPr lang="en-GB" sz="2800" b="1">
                <a:solidFill>
                  <a:srgbClr val="242F58"/>
                </a:solidFill>
                <a:latin typeface="Tahoma" panose="020B0604030504040204" pitchFamily="34" charset="0"/>
                <a:ea typeface="Tahoma" panose="020B0604030504040204" pitchFamily="34" charset="0"/>
                <a:cs typeface="Tahoma" panose="020B0604030504040204" pitchFamily="34" charset="0"/>
              </a:rPr>
              <a:t>36%</a:t>
            </a:r>
          </a:p>
          <a:p>
            <a:pPr algn="ctr">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Portrait</a:t>
            </a:r>
          </a:p>
        </p:txBody>
      </p:sp>
      <p:sp>
        <p:nvSpPr>
          <p:cNvPr id="11" name="TextBox 10">
            <a:extLst>
              <a:ext uri="{FF2B5EF4-FFF2-40B4-BE49-F238E27FC236}">
                <a16:creationId xmlns:a16="http://schemas.microsoft.com/office/drawing/2014/main" id="{78122959-495E-3C87-1F2A-A4F3D05987F9}"/>
              </a:ext>
            </a:extLst>
          </p:cNvPr>
          <p:cNvSpPr txBox="1"/>
          <p:nvPr/>
        </p:nvSpPr>
        <p:spPr>
          <a:xfrm>
            <a:off x="1996975" y="3198489"/>
            <a:ext cx="1167276" cy="815608"/>
          </a:xfrm>
          <a:prstGeom prst="rect">
            <a:avLst/>
          </a:prstGeom>
          <a:noFill/>
        </p:spPr>
        <p:txBody>
          <a:bodyPr wrap="square" rtlCol="0">
            <a:spAutoFit/>
          </a:bodyPr>
          <a:lstStyle/>
          <a:p>
            <a:pPr algn="ctr">
              <a:spcAft>
                <a:spcPts val="600"/>
              </a:spcAft>
            </a:pPr>
            <a:r>
              <a:rPr lang="en-GB" sz="2800" b="1">
                <a:solidFill>
                  <a:srgbClr val="242F58"/>
                </a:solidFill>
                <a:latin typeface="Tahoma" panose="020B0604030504040204" pitchFamily="34" charset="0"/>
                <a:ea typeface="Tahoma" panose="020B0604030504040204" pitchFamily="34" charset="0"/>
                <a:cs typeface="Tahoma" panose="020B0604030504040204" pitchFamily="34" charset="0"/>
              </a:rPr>
              <a:t>40%</a:t>
            </a:r>
          </a:p>
          <a:p>
            <a:pPr algn="ctr">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Square</a:t>
            </a:r>
          </a:p>
        </p:txBody>
      </p:sp>
      <p:sp>
        <p:nvSpPr>
          <p:cNvPr id="12" name="TextBox 11">
            <a:extLst>
              <a:ext uri="{FF2B5EF4-FFF2-40B4-BE49-F238E27FC236}">
                <a16:creationId xmlns:a16="http://schemas.microsoft.com/office/drawing/2014/main" id="{5F1C03E5-1765-7254-EB5D-D0A61FF0EC85}"/>
              </a:ext>
            </a:extLst>
          </p:cNvPr>
          <p:cNvSpPr txBox="1"/>
          <p:nvPr/>
        </p:nvSpPr>
        <p:spPr>
          <a:xfrm>
            <a:off x="3255829" y="2820283"/>
            <a:ext cx="1219238" cy="815608"/>
          </a:xfrm>
          <a:prstGeom prst="rect">
            <a:avLst/>
          </a:prstGeom>
          <a:noFill/>
        </p:spPr>
        <p:txBody>
          <a:bodyPr wrap="square" rtlCol="0">
            <a:spAutoFit/>
          </a:bodyPr>
          <a:lstStyle/>
          <a:p>
            <a:pPr algn="ctr">
              <a:spcAft>
                <a:spcPts val="600"/>
              </a:spcAft>
            </a:pPr>
            <a:r>
              <a:rPr lang="en-GB" sz="2800" b="1">
                <a:solidFill>
                  <a:srgbClr val="242F58"/>
                </a:solidFill>
                <a:latin typeface="Tahoma" panose="020B0604030504040204" pitchFamily="34" charset="0"/>
                <a:ea typeface="Tahoma" panose="020B0604030504040204" pitchFamily="34" charset="0"/>
                <a:cs typeface="Tahoma" panose="020B0604030504040204" pitchFamily="34" charset="0"/>
              </a:rPr>
              <a:t>24%</a:t>
            </a:r>
          </a:p>
          <a:p>
            <a:pPr algn="ctr">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Landscape</a:t>
            </a:r>
          </a:p>
        </p:txBody>
      </p:sp>
      <p:sp>
        <p:nvSpPr>
          <p:cNvPr id="30" name="TextBox 29">
            <a:extLst>
              <a:ext uri="{FF2B5EF4-FFF2-40B4-BE49-F238E27FC236}">
                <a16:creationId xmlns:a16="http://schemas.microsoft.com/office/drawing/2014/main" id="{4CFA616A-9F3D-6604-CB8E-55749580B2A1}"/>
              </a:ext>
            </a:extLst>
          </p:cNvPr>
          <p:cNvSpPr txBox="1"/>
          <p:nvPr/>
        </p:nvSpPr>
        <p:spPr>
          <a:xfrm>
            <a:off x="4849821" y="3898647"/>
            <a:ext cx="1216676" cy="815608"/>
          </a:xfrm>
          <a:prstGeom prst="rect">
            <a:avLst/>
          </a:prstGeom>
          <a:noFill/>
        </p:spPr>
        <p:txBody>
          <a:bodyPr wrap="square" rtlCol="0">
            <a:spAutoFit/>
          </a:bodyPr>
          <a:lstStyle/>
          <a:p>
            <a:pPr algn="ctr">
              <a:spcAft>
                <a:spcPts val="600"/>
              </a:spcAft>
            </a:pPr>
            <a:r>
              <a:rPr lang="en-GB" sz="2800" b="1">
                <a:solidFill>
                  <a:srgbClr val="E08806"/>
                </a:solidFill>
                <a:latin typeface="Tahoma" panose="020B0604030504040204" pitchFamily="34" charset="0"/>
                <a:ea typeface="Tahoma" panose="020B0604030504040204" pitchFamily="34" charset="0"/>
                <a:cs typeface="Tahoma" panose="020B0604030504040204" pitchFamily="34" charset="0"/>
              </a:rPr>
              <a:t>18%</a:t>
            </a:r>
          </a:p>
          <a:p>
            <a:pPr algn="ctr">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Portrait</a:t>
            </a:r>
          </a:p>
        </p:txBody>
      </p:sp>
      <p:sp>
        <p:nvSpPr>
          <p:cNvPr id="31" name="TextBox 30">
            <a:extLst>
              <a:ext uri="{FF2B5EF4-FFF2-40B4-BE49-F238E27FC236}">
                <a16:creationId xmlns:a16="http://schemas.microsoft.com/office/drawing/2014/main" id="{C380A2FD-7535-95B0-9D62-DFA040857DCD}"/>
              </a:ext>
            </a:extLst>
          </p:cNvPr>
          <p:cNvSpPr txBox="1"/>
          <p:nvPr/>
        </p:nvSpPr>
        <p:spPr>
          <a:xfrm>
            <a:off x="6203356" y="3198489"/>
            <a:ext cx="1292886" cy="815608"/>
          </a:xfrm>
          <a:prstGeom prst="rect">
            <a:avLst/>
          </a:prstGeom>
          <a:noFill/>
        </p:spPr>
        <p:txBody>
          <a:bodyPr wrap="square" rtlCol="0">
            <a:spAutoFit/>
          </a:bodyPr>
          <a:lstStyle/>
          <a:p>
            <a:pPr algn="ctr">
              <a:spcAft>
                <a:spcPts val="600"/>
              </a:spcAft>
            </a:pPr>
            <a:r>
              <a:rPr lang="en-GB" sz="2800" b="1">
                <a:solidFill>
                  <a:srgbClr val="E08806"/>
                </a:solidFill>
                <a:latin typeface="Tahoma" panose="020B0604030504040204" pitchFamily="34" charset="0"/>
                <a:ea typeface="Tahoma" panose="020B0604030504040204" pitchFamily="34" charset="0"/>
                <a:cs typeface="Tahoma" panose="020B0604030504040204" pitchFamily="34" charset="0"/>
              </a:rPr>
              <a:t>53%</a:t>
            </a:r>
          </a:p>
          <a:p>
            <a:pPr algn="ctr">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Square</a:t>
            </a:r>
          </a:p>
        </p:txBody>
      </p:sp>
      <p:sp>
        <p:nvSpPr>
          <p:cNvPr id="32" name="TextBox 31">
            <a:extLst>
              <a:ext uri="{FF2B5EF4-FFF2-40B4-BE49-F238E27FC236}">
                <a16:creationId xmlns:a16="http://schemas.microsoft.com/office/drawing/2014/main" id="{A04E2565-B5D2-2FE1-0BED-547FD7DD622D}"/>
              </a:ext>
            </a:extLst>
          </p:cNvPr>
          <p:cNvSpPr txBox="1"/>
          <p:nvPr/>
        </p:nvSpPr>
        <p:spPr>
          <a:xfrm>
            <a:off x="7462129" y="2820283"/>
            <a:ext cx="1284658" cy="815608"/>
          </a:xfrm>
          <a:prstGeom prst="rect">
            <a:avLst/>
          </a:prstGeom>
          <a:noFill/>
        </p:spPr>
        <p:txBody>
          <a:bodyPr wrap="square" rtlCol="0">
            <a:spAutoFit/>
          </a:bodyPr>
          <a:lstStyle/>
          <a:p>
            <a:pPr algn="ctr">
              <a:spcAft>
                <a:spcPts val="600"/>
              </a:spcAft>
            </a:pPr>
            <a:r>
              <a:rPr lang="en-GB" sz="2800" b="1">
                <a:solidFill>
                  <a:srgbClr val="E08806"/>
                </a:solidFill>
                <a:latin typeface="Tahoma" panose="020B0604030504040204" pitchFamily="34" charset="0"/>
                <a:ea typeface="Tahoma" panose="020B0604030504040204" pitchFamily="34" charset="0"/>
                <a:cs typeface="Tahoma" panose="020B0604030504040204" pitchFamily="34" charset="0"/>
              </a:rPr>
              <a:t>29%</a:t>
            </a:r>
          </a:p>
          <a:p>
            <a:pPr algn="ctr">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Landscape</a:t>
            </a:r>
          </a:p>
        </p:txBody>
      </p:sp>
      <p:sp>
        <p:nvSpPr>
          <p:cNvPr id="4" name="TextBox 3">
            <a:extLst>
              <a:ext uri="{FF2B5EF4-FFF2-40B4-BE49-F238E27FC236}">
                <a16:creationId xmlns:a16="http://schemas.microsoft.com/office/drawing/2014/main" id="{7B067AD3-63FB-4198-DFC4-226D72F620E3}"/>
              </a:ext>
            </a:extLst>
          </p:cNvPr>
          <p:cNvSpPr txBox="1"/>
          <p:nvPr/>
        </p:nvSpPr>
        <p:spPr>
          <a:xfrm>
            <a:off x="-37407" y="4928056"/>
            <a:ext cx="9281160" cy="215444"/>
          </a:xfrm>
          <a:prstGeom prst="rect">
            <a:avLst/>
          </a:prstGeom>
          <a:noFill/>
        </p:spPr>
        <p:txBody>
          <a:bodyPr wrap="square">
            <a:spAutoFit/>
          </a:bodyPr>
          <a:lstStyle/>
          <a:p>
            <a:r>
              <a:rPr lang="en-GB" sz="800" baseline="30000">
                <a:solidFill>
                  <a:srgbClr val="242F58"/>
                </a:solidFill>
                <a:latin typeface="Tahoma" panose="020B0604030504040204" pitchFamily="34" charset="0"/>
                <a:ea typeface="Tahoma" panose="020B0604030504040204" pitchFamily="34" charset="0"/>
                <a:cs typeface="Tahoma" panose="020B0604030504040204" pitchFamily="34" charset="0"/>
              </a:rPr>
              <a:t>1 </a:t>
            </a:r>
            <a:r>
              <a:rPr lang="en-GB" sz="800" err="1">
                <a:solidFill>
                  <a:srgbClr val="242F58"/>
                </a:solidFill>
                <a:effectLst/>
                <a:latin typeface="Tahoma" panose="020B0604030504040204" pitchFamily="34" charset="0"/>
                <a:ea typeface="Tahoma" panose="020B0604030504040204" pitchFamily="34" charset="0"/>
                <a:cs typeface="Tahoma" panose="020B0604030504040204" pitchFamily="34" charset="0"/>
              </a:rPr>
              <a:t>Kastrenakes</a:t>
            </a:r>
            <a:r>
              <a:rPr lang="en-GB" sz="800">
                <a:solidFill>
                  <a:srgbClr val="242F58"/>
                </a:solidFill>
                <a:effectLst/>
                <a:latin typeface="Tahoma" panose="020B0604030504040204" pitchFamily="34" charset="0"/>
                <a:ea typeface="Tahoma" panose="020B0604030504040204" pitchFamily="34" charset="0"/>
                <a:cs typeface="Tahoma" panose="020B0604030504040204" pitchFamily="34" charset="0"/>
              </a:rPr>
              <a:t>, J. (2015, September 27). </a:t>
            </a:r>
            <a:r>
              <a:rPr lang="en-GB" sz="800" i="1">
                <a:solidFill>
                  <a:srgbClr val="242F58"/>
                </a:solidFill>
                <a:effectLst/>
                <a:latin typeface="Tahoma" panose="020B0604030504040204" pitchFamily="34" charset="0"/>
                <a:ea typeface="Tahoma" panose="020B0604030504040204" pitchFamily="34" charset="0"/>
                <a:cs typeface="Tahoma" panose="020B0604030504040204" pitchFamily="34" charset="0"/>
              </a:rPr>
              <a:t>Portrait is the new square on Instagram</a:t>
            </a:r>
            <a:r>
              <a:rPr lang="en-GB" sz="800">
                <a:solidFill>
                  <a:srgbClr val="242F58"/>
                </a:solidFill>
                <a:effectLst/>
                <a:latin typeface="Tahoma" panose="020B0604030504040204" pitchFamily="34" charset="0"/>
                <a:ea typeface="Tahoma" panose="020B0604030504040204" pitchFamily="34" charset="0"/>
                <a:cs typeface="Tahoma" panose="020B0604030504040204" pitchFamily="34" charset="0"/>
              </a:rPr>
              <a:t>. The Verge. https://</a:t>
            </a:r>
            <a:r>
              <a:rPr lang="en-GB" sz="800" err="1">
                <a:solidFill>
                  <a:srgbClr val="242F58"/>
                </a:solidFill>
                <a:effectLst/>
                <a:latin typeface="Tahoma" panose="020B0604030504040204" pitchFamily="34" charset="0"/>
                <a:ea typeface="Tahoma" panose="020B0604030504040204" pitchFamily="34" charset="0"/>
                <a:cs typeface="Tahoma" panose="020B0604030504040204" pitchFamily="34" charset="0"/>
              </a:rPr>
              <a:t>www.theverge.com</a:t>
            </a:r>
            <a:r>
              <a:rPr lang="en-GB" sz="800">
                <a:solidFill>
                  <a:srgbClr val="242F58"/>
                </a:solidFill>
                <a:effectLst/>
                <a:latin typeface="Tahoma" panose="020B0604030504040204" pitchFamily="34" charset="0"/>
                <a:ea typeface="Tahoma" panose="020B0604030504040204" pitchFamily="34" charset="0"/>
                <a:cs typeface="Tahoma" panose="020B0604030504040204" pitchFamily="34" charset="0"/>
              </a:rPr>
              <a:t>/2015/9/27/9398551/</a:t>
            </a:r>
            <a:r>
              <a:rPr lang="en-GB" sz="800" err="1">
                <a:solidFill>
                  <a:srgbClr val="242F58"/>
                </a:solidFill>
                <a:effectLst/>
                <a:latin typeface="Tahoma" panose="020B0604030504040204" pitchFamily="34" charset="0"/>
                <a:ea typeface="Tahoma" panose="020B0604030504040204" pitchFamily="34" charset="0"/>
                <a:cs typeface="Tahoma" panose="020B0604030504040204" pitchFamily="34" charset="0"/>
              </a:rPr>
              <a:t>instagram</a:t>
            </a:r>
            <a:r>
              <a:rPr lang="en-GB" sz="800">
                <a:solidFill>
                  <a:srgbClr val="242F58"/>
                </a:solidFill>
                <a:effectLst/>
                <a:latin typeface="Tahoma" panose="020B0604030504040204" pitchFamily="34" charset="0"/>
                <a:ea typeface="Tahoma" panose="020B0604030504040204" pitchFamily="34" charset="0"/>
                <a:cs typeface="Tahoma" panose="020B0604030504040204" pitchFamily="34" charset="0"/>
              </a:rPr>
              <a:t>-portrait-photos-rule </a:t>
            </a:r>
          </a:p>
        </p:txBody>
      </p:sp>
      <p:grpSp>
        <p:nvGrpSpPr>
          <p:cNvPr id="9" name="Group 8">
            <a:extLst>
              <a:ext uri="{FF2B5EF4-FFF2-40B4-BE49-F238E27FC236}">
                <a16:creationId xmlns:a16="http://schemas.microsoft.com/office/drawing/2014/main" id="{373715EB-1000-F126-3510-0B869A7C1910}"/>
              </a:ext>
            </a:extLst>
          </p:cNvPr>
          <p:cNvGrpSpPr/>
          <p:nvPr/>
        </p:nvGrpSpPr>
        <p:grpSpPr>
          <a:xfrm>
            <a:off x="8407295" y="-28044"/>
            <a:ext cx="871964" cy="553028"/>
            <a:chOff x="8285465" y="79946"/>
            <a:chExt cx="871964" cy="553028"/>
          </a:xfrm>
        </p:grpSpPr>
        <p:sp>
          <p:nvSpPr>
            <p:cNvPr id="13" name="Google Shape;3967;p40">
              <a:extLst>
                <a:ext uri="{FF2B5EF4-FFF2-40B4-BE49-F238E27FC236}">
                  <a16:creationId xmlns:a16="http://schemas.microsoft.com/office/drawing/2014/main" id="{4A5D4DEF-BB3B-29C7-F314-925D24A86291}"/>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4" name="Graphic 13">
              <a:extLst>
                <a:ext uri="{FF2B5EF4-FFF2-40B4-BE49-F238E27FC236}">
                  <a16:creationId xmlns:a16="http://schemas.microsoft.com/office/drawing/2014/main" id="{56391C75-8186-9852-6CB2-53FBFEFF31C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561402" y="79946"/>
              <a:ext cx="348226" cy="348226"/>
            </a:xfrm>
            <a:prstGeom prst="rect">
              <a:avLst/>
            </a:prstGeom>
          </p:spPr>
        </p:pic>
      </p:grpSp>
    </p:spTree>
    <p:extLst>
      <p:ext uri="{BB962C8B-B14F-4D97-AF65-F5344CB8AC3E}">
        <p14:creationId xmlns:p14="http://schemas.microsoft.com/office/powerpoint/2010/main" val="11697998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4DAA72-E3A0-0674-03EF-DC815702D018}"/>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Connector 11">
            <a:extLst>
              <a:ext uri="{FF2B5EF4-FFF2-40B4-BE49-F238E27FC236}">
                <a16:creationId xmlns:a16="http://schemas.microsoft.com/office/drawing/2014/main" id="{E3B6957F-C541-3BD7-04DC-636909C90390}"/>
              </a:ext>
            </a:extLst>
          </p:cNvPr>
          <p:cNvCxnSpPr>
            <a:cxnSpLocks/>
          </p:cNvCxnSpPr>
          <p:nvPr/>
        </p:nvCxnSpPr>
        <p:spPr>
          <a:xfrm>
            <a:off x="4572000" y="1043677"/>
            <a:ext cx="0" cy="3904334"/>
          </a:xfrm>
          <a:prstGeom prst="line">
            <a:avLst/>
          </a:prstGeom>
          <a:ln w="28575">
            <a:solidFill>
              <a:srgbClr val="0A1D3D"/>
            </a:solidFill>
            <a:prstDash val="lgDash"/>
          </a:ln>
        </p:spPr>
        <p:style>
          <a:lnRef idx="1">
            <a:schemeClr val="accent1"/>
          </a:lnRef>
          <a:fillRef idx="0">
            <a:schemeClr val="accent1"/>
          </a:fillRef>
          <a:effectRef idx="0">
            <a:schemeClr val="accent1"/>
          </a:effectRef>
          <a:fontRef idx="minor">
            <a:schemeClr val="tx1"/>
          </a:fontRef>
        </p:style>
      </p:cxnSp>
      <p:pic>
        <p:nvPicPr>
          <p:cNvPr id="4" name="Picture 3" descr="A logo with blue and yellow stripes&#10;&#10;Description automatically generated">
            <a:extLst>
              <a:ext uri="{FF2B5EF4-FFF2-40B4-BE49-F238E27FC236}">
                <a16:creationId xmlns:a16="http://schemas.microsoft.com/office/drawing/2014/main" id="{4E21D6AC-3539-23F8-5845-B41452F45198}"/>
              </a:ext>
            </a:extLst>
          </p:cNvPr>
          <p:cNvPicPr>
            <a:picLocks noChangeAspect="1"/>
          </p:cNvPicPr>
          <p:nvPr/>
        </p:nvPicPr>
        <p:blipFill>
          <a:blip r:embed="rId3"/>
          <a:stretch>
            <a:fillRect/>
          </a:stretch>
        </p:blipFill>
        <p:spPr>
          <a:xfrm>
            <a:off x="6093253" y="781423"/>
            <a:ext cx="1513091" cy="951773"/>
          </a:xfrm>
          <a:prstGeom prst="rect">
            <a:avLst/>
          </a:prstGeom>
        </p:spPr>
      </p:pic>
      <p:pic>
        <p:nvPicPr>
          <p:cNvPr id="6" name="Picture 5" descr="A logo on a black background&#10;&#10;Description automatically generated">
            <a:extLst>
              <a:ext uri="{FF2B5EF4-FFF2-40B4-BE49-F238E27FC236}">
                <a16:creationId xmlns:a16="http://schemas.microsoft.com/office/drawing/2014/main" id="{2BB45AED-AA89-2FA6-8260-9E6838CBEE18}"/>
              </a:ext>
            </a:extLst>
          </p:cNvPr>
          <p:cNvPicPr>
            <a:picLocks noChangeAspect="1"/>
          </p:cNvPicPr>
          <p:nvPr/>
        </p:nvPicPr>
        <p:blipFill rotWithShape="1">
          <a:blip r:embed="rId4"/>
          <a:srcRect l="10842" t="37933" r="10764" b="38549"/>
          <a:stretch/>
        </p:blipFill>
        <p:spPr>
          <a:xfrm>
            <a:off x="1600419" y="1107329"/>
            <a:ext cx="1947090" cy="389418"/>
          </a:xfrm>
          <a:prstGeom prst="rect">
            <a:avLst/>
          </a:prstGeom>
        </p:spPr>
      </p:pic>
      <p:sp>
        <p:nvSpPr>
          <p:cNvPr id="7" name="TextBox 6">
            <a:extLst>
              <a:ext uri="{FF2B5EF4-FFF2-40B4-BE49-F238E27FC236}">
                <a16:creationId xmlns:a16="http://schemas.microsoft.com/office/drawing/2014/main" id="{3D5DACBC-3B66-F405-C7B4-0E47367D4FE8}"/>
              </a:ext>
            </a:extLst>
          </p:cNvPr>
          <p:cNvSpPr txBox="1"/>
          <p:nvPr/>
        </p:nvSpPr>
        <p:spPr>
          <a:xfrm>
            <a:off x="148700" y="2682994"/>
            <a:ext cx="1534576" cy="1985159"/>
          </a:xfrm>
          <a:prstGeom prst="rect">
            <a:avLst/>
          </a:prstGeom>
          <a:noFill/>
        </p:spPr>
        <p:txBody>
          <a:bodyPr wrap="square" rtlCol="0">
            <a:spAutoFit/>
          </a:bodyPr>
          <a:lstStyle/>
          <a:p>
            <a:pPr algn="ctr"/>
            <a:r>
              <a:rPr lang="en-GB" sz="2400" b="1">
                <a:solidFill>
                  <a:srgbClr val="0F1A42"/>
                </a:solidFill>
                <a:latin typeface="Tahoma" panose="020B0604030504040204" pitchFamily="34" charset="0"/>
                <a:ea typeface="Tahoma" panose="020B0604030504040204" pitchFamily="34" charset="0"/>
                <a:cs typeface="Tahoma" panose="020B0604030504040204" pitchFamily="34" charset="0"/>
              </a:rPr>
              <a:t>6.44% </a:t>
            </a:r>
          </a:p>
          <a:p>
            <a:pPr algn="ctr">
              <a:spcBef>
                <a:spcPts val="600"/>
              </a:spcBef>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of posts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explicitly </a:t>
            </a: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tag other accounts</a:t>
            </a:r>
            <a:endParaRPr lang="en-GB" sz="1200"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spcAft>
                <a:spcPts val="600"/>
              </a:spcAft>
            </a:pP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f which</a:t>
            </a:r>
          </a:p>
          <a:p>
            <a:pPr algn="ctr"/>
            <a:r>
              <a:rPr lang="en-GB" sz="2400" b="1">
                <a:solidFill>
                  <a:srgbClr val="2C96EA"/>
                </a:solidFill>
                <a:latin typeface="Tahoma" panose="020B0604030504040204" pitchFamily="34" charset="0"/>
                <a:ea typeface="Tahoma" panose="020B0604030504040204" pitchFamily="34" charset="0"/>
                <a:cs typeface="Tahoma" panose="020B0604030504040204" pitchFamily="34" charset="0"/>
              </a:rPr>
              <a:t>    18%</a:t>
            </a:r>
          </a:p>
          <a:p>
            <a:pPr algn="ctr">
              <a:spcBef>
                <a:spcPts val="600"/>
              </a:spcBef>
            </a:pPr>
            <a:r>
              <a:rPr lang="en-GB">
                <a:solidFill>
                  <a:srgbClr val="0F1A42"/>
                </a:solidFill>
                <a:latin typeface="Tahoma" panose="020B0604030504040204" pitchFamily="34" charset="0"/>
                <a:ea typeface="Tahoma" panose="020B0604030504040204" pitchFamily="34" charset="0"/>
                <a:cs typeface="Tahoma" panose="020B0604030504040204" pitchFamily="34" charset="0"/>
              </a:rPr>
              <a:t>are </a:t>
            </a: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verified</a:t>
            </a:r>
          </a:p>
        </p:txBody>
      </p:sp>
      <p:pic>
        <p:nvPicPr>
          <p:cNvPr id="17" name="Picture 16">
            <a:extLst>
              <a:ext uri="{FF2B5EF4-FFF2-40B4-BE49-F238E27FC236}">
                <a16:creationId xmlns:a16="http://schemas.microsoft.com/office/drawing/2014/main" id="{D2840FCA-63EC-B44B-ED40-AF7691602FAB}"/>
              </a:ext>
            </a:extLst>
          </p:cNvPr>
          <p:cNvPicPr>
            <a:picLocks noChangeAspect="1"/>
          </p:cNvPicPr>
          <p:nvPr/>
        </p:nvPicPr>
        <p:blipFill>
          <a:blip r:embed="rId5">
            <a:duotone>
              <a:schemeClr val="accent6">
                <a:shade val="45000"/>
                <a:satMod val="135000"/>
              </a:schemeClr>
              <a:prstClr val="white"/>
            </a:duotone>
          </a:blip>
          <a:stretch>
            <a:fillRect/>
          </a:stretch>
        </p:blipFill>
        <p:spPr>
          <a:xfrm>
            <a:off x="458789" y="1733196"/>
            <a:ext cx="914399" cy="845387"/>
          </a:xfrm>
          <a:prstGeom prst="rect">
            <a:avLst/>
          </a:prstGeom>
        </p:spPr>
      </p:pic>
      <p:pic>
        <p:nvPicPr>
          <p:cNvPr id="24" name="Picture 23">
            <a:extLst>
              <a:ext uri="{FF2B5EF4-FFF2-40B4-BE49-F238E27FC236}">
                <a16:creationId xmlns:a16="http://schemas.microsoft.com/office/drawing/2014/main" id="{6C94CFE8-BD7E-FF9F-EF55-3285F6D836D0}"/>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7609" b="94022" l="8808" r="91710">
                        <a14:foregroundMark x1="38860" y1="90761" x2="38860" y2="90761"/>
                        <a14:foregroundMark x1="88601" y1="62500" x2="88601" y2="62500"/>
                        <a14:foregroundMark x1="89119" y1="61413" x2="89119" y2="61413"/>
                        <a14:foregroundMark x1="91710" y1="59783" x2="91710" y2="59783"/>
                        <a14:foregroundMark x1="51295" y1="8152" x2="51295" y2="8152"/>
                        <a14:foregroundMark x1="38860" y1="94565" x2="38860" y2="94565"/>
                        <a14:foregroundMark x1="61140" y1="93478" x2="61140" y2="93478"/>
                        <a14:foregroundMark x1="61140" y1="93478" x2="61140" y2="93478"/>
                        <a14:foregroundMark x1="8808" y1="56522" x2="8808" y2="56522"/>
                      </a14:backgroundRemoval>
                    </a14:imgEffect>
                  </a14:imgLayer>
                </a14:imgProps>
              </a:ext>
            </a:extLst>
          </a:blip>
          <a:stretch>
            <a:fillRect/>
          </a:stretch>
        </p:blipFill>
        <p:spPr>
          <a:xfrm>
            <a:off x="247802" y="3935858"/>
            <a:ext cx="421974" cy="402296"/>
          </a:xfrm>
          <a:prstGeom prst="rect">
            <a:avLst/>
          </a:prstGeom>
        </p:spPr>
      </p:pic>
      <p:sp>
        <p:nvSpPr>
          <p:cNvPr id="30" name="TextBox 29">
            <a:extLst>
              <a:ext uri="{FF2B5EF4-FFF2-40B4-BE49-F238E27FC236}">
                <a16:creationId xmlns:a16="http://schemas.microsoft.com/office/drawing/2014/main" id="{141E3EA5-210F-2324-2860-E69DB515F4AA}"/>
              </a:ext>
            </a:extLst>
          </p:cNvPr>
          <p:cNvSpPr txBox="1"/>
          <p:nvPr/>
        </p:nvSpPr>
        <p:spPr>
          <a:xfrm>
            <a:off x="4719915" y="2682994"/>
            <a:ext cx="1534576" cy="1985159"/>
          </a:xfrm>
          <a:prstGeom prst="rect">
            <a:avLst/>
          </a:prstGeom>
          <a:noFill/>
        </p:spPr>
        <p:txBody>
          <a:bodyPr wrap="square" rtlCol="0">
            <a:spAutoFit/>
          </a:bodyPr>
          <a:lstStyle/>
          <a:p>
            <a:pPr algn="ctr"/>
            <a:r>
              <a:rPr lang="en-GB" sz="2400" b="1" dirty="0">
                <a:solidFill>
                  <a:srgbClr val="E08806"/>
                </a:solidFill>
                <a:latin typeface="Tahoma" panose="020B0604030504040204" pitchFamily="34" charset="0"/>
                <a:ea typeface="Tahoma" panose="020B0604030504040204" pitchFamily="34" charset="0"/>
                <a:cs typeface="Tahoma" panose="020B0604030504040204" pitchFamily="34" charset="0"/>
              </a:rPr>
              <a:t>0.62% </a:t>
            </a:r>
          </a:p>
          <a:p>
            <a:pPr algn="ctr">
              <a:spcBef>
                <a:spcPts val="600"/>
              </a:spcBef>
            </a:pPr>
            <a:r>
              <a:rPr lang="en-GB" sz="1200" dirty="0">
                <a:solidFill>
                  <a:srgbClr val="0F1A42"/>
                </a:solidFill>
                <a:latin typeface="Tahoma" panose="020B0604030504040204" pitchFamily="34" charset="0"/>
                <a:ea typeface="Tahoma" panose="020B0604030504040204" pitchFamily="34" charset="0"/>
                <a:cs typeface="Tahoma" panose="020B0604030504040204" pitchFamily="34" charset="0"/>
              </a:rPr>
              <a:t>of posts </a:t>
            </a:r>
            <a:r>
              <a:rPr lang="en-GB" sz="1200" b="1" dirty="0">
                <a:solidFill>
                  <a:srgbClr val="0F1A42"/>
                </a:solidFill>
                <a:latin typeface="Tahoma" panose="020B0604030504040204" pitchFamily="34" charset="0"/>
                <a:ea typeface="Tahoma" panose="020B0604030504040204" pitchFamily="34" charset="0"/>
                <a:cs typeface="Tahoma" panose="020B0604030504040204" pitchFamily="34" charset="0"/>
              </a:rPr>
              <a:t>explicitly </a:t>
            </a:r>
            <a:r>
              <a:rPr lang="en-GB" sz="1200" dirty="0">
                <a:solidFill>
                  <a:srgbClr val="0F1A42"/>
                </a:solidFill>
                <a:latin typeface="Tahoma" panose="020B0604030504040204" pitchFamily="34" charset="0"/>
                <a:ea typeface="Tahoma" panose="020B0604030504040204" pitchFamily="34" charset="0"/>
                <a:cs typeface="Tahoma" panose="020B0604030504040204" pitchFamily="34" charset="0"/>
              </a:rPr>
              <a:t>tag other accounts</a:t>
            </a:r>
            <a:endParaRPr lang="en-GB" sz="1200" b="1" dirty="0">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1200"/>
              </a:spcBef>
              <a:spcAft>
                <a:spcPts val="600"/>
              </a:spcAft>
            </a:pPr>
            <a:r>
              <a:rPr lang="en-GB" sz="1200" b="1" dirty="0">
                <a:solidFill>
                  <a:srgbClr val="0F1A42"/>
                </a:solidFill>
                <a:latin typeface="Tahoma" panose="020B0604030504040204" pitchFamily="34" charset="0"/>
                <a:ea typeface="Tahoma" panose="020B0604030504040204" pitchFamily="34" charset="0"/>
                <a:cs typeface="Tahoma" panose="020B0604030504040204" pitchFamily="34" charset="0"/>
              </a:rPr>
              <a:t>Of which</a:t>
            </a:r>
          </a:p>
          <a:p>
            <a:pPr algn="ctr"/>
            <a:r>
              <a:rPr lang="en-GB" sz="2400" b="1" dirty="0">
                <a:solidFill>
                  <a:srgbClr val="2C96EA"/>
                </a:solidFill>
                <a:latin typeface="Tahoma" panose="020B0604030504040204" pitchFamily="34" charset="0"/>
                <a:ea typeface="Tahoma" panose="020B0604030504040204" pitchFamily="34" charset="0"/>
                <a:cs typeface="Tahoma" panose="020B0604030504040204" pitchFamily="34" charset="0"/>
              </a:rPr>
              <a:t>    25%</a:t>
            </a:r>
          </a:p>
          <a:p>
            <a:pPr algn="ctr">
              <a:spcBef>
                <a:spcPts val="600"/>
              </a:spcBef>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are </a:t>
            </a:r>
            <a:r>
              <a:rPr lang="en-GB" b="1" dirty="0">
                <a:solidFill>
                  <a:srgbClr val="0F1A42"/>
                </a:solidFill>
                <a:latin typeface="Tahoma" panose="020B0604030504040204" pitchFamily="34" charset="0"/>
                <a:ea typeface="Tahoma" panose="020B0604030504040204" pitchFamily="34" charset="0"/>
                <a:cs typeface="Tahoma" panose="020B0604030504040204" pitchFamily="34" charset="0"/>
              </a:rPr>
              <a:t>verified</a:t>
            </a:r>
          </a:p>
        </p:txBody>
      </p:sp>
      <p:pic>
        <p:nvPicPr>
          <p:cNvPr id="31" name="Graphic 30" descr="@ with solid fill">
            <a:extLst>
              <a:ext uri="{FF2B5EF4-FFF2-40B4-BE49-F238E27FC236}">
                <a16:creationId xmlns:a16="http://schemas.microsoft.com/office/drawing/2014/main" id="{D9A1FEEB-31C3-DA56-0945-25A563FAFE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29857" y="1687483"/>
            <a:ext cx="1005825" cy="1005825"/>
          </a:xfrm>
          <a:prstGeom prst="rect">
            <a:avLst/>
          </a:prstGeom>
        </p:spPr>
      </p:pic>
      <p:pic>
        <p:nvPicPr>
          <p:cNvPr id="33" name="Picture 32">
            <a:extLst>
              <a:ext uri="{FF2B5EF4-FFF2-40B4-BE49-F238E27FC236}">
                <a16:creationId xmlns:a16="http://schemas.microsoft.com/office/drawing/2014/main" id="{44EEE0D8-C013-FCEC-F35E-479684B6D77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7609" b="94022" l="8808" r="91710">
                        <a14:foregroundMark x1="38860" y1="90761" x2="38860" y2="90761"/>
                        <a14:foregroundMark x1="88601" y1="62500" x2="88601" y2="62500"/>
                        <a14:foregroundMark x1="89119" y1="61413" x2="89119" y2="61413"/>
                        <a14:foregroundMark x1="91710" y1="59783" x2="91710" y2="59783"/>
                        <a14:foregroundMark x1="51295" y1="8152" x2="51295" y2="8152"/>
                        <a14:foregroundMark x1="38860" y1="94565" x2="38860" y2="94565"/>
                        <a14:foregroundMark x1="61140" y1="93478" x2="61140" y2="93478"/>
                        <a14:foregroundMark x1="61140" y1="93478" x2="61140" y2="93478"/>
                        <a14:foregroundMark x1="8808" y1="56522" x2="8808" y2="56522"/>
                      </a14:backgroundRemoval>
                    </a14:imgEffect>
                  </a14:imgLayer>
                </a14:imgProps>
              </a:ext>
            </a:extLst>
          </a:blip>
          <a:stretch>
            <a:fillRect/>
          </a:stretch>
        </p:blipFill>
        <p:spPr>
          <a:xfrm>
            <a:off x="4848788" y="3929929"/>
            <a:ext cx="421974" cy="402296"/>
          </a:xfrm>
          <a:prstGeom prst="rect">
            <a:avLst/>
          </a:prstGeom>
        </p:spPr>
      </p:pic>
      <p:sp>
        <p:nvSpPr>
          <p:cNvPr id="34" name="TextBox 33">
            <a:extLst>
              <a:ext uri="{FF2B5EF4-FFF2-40B4-BE49-F238E27FC236}">
                <a16:creationId xmlns:a16="http://schemas.microsoft.com/office/drawing/2014/main" id="{1ED5049A-7CFB-2F51-CAC2-696B54F42B5B}"/>
              </a:ext>
            </a:extLst>
          </p:cNvPr>
          <p:cNvSpPr txBox="1"/>
          <p:nvPr/>
        </p:nvSpPr>
        <p:spPr>
          <a:xfrm>
            <a:off x="6265482" y="2682994"/>
            <a:ext cx="1534576" cy="1092607"/>
          </a:xfrm>
          <a:prstGeom prst="rect">
            <a:avLst/>
          </a:prstGeom>
          <a:noFill/>
        </p:spPr>
        <p:txBody>
          <a:bodyPr wrap="square" rtlCol="0">
            <a:spAutoFit/>
          </a:bodyPr>
          <a:lstStyle/>
          <a:p>
            <a:pPr algn="ctr"/>
            <a:r>
              <a:rPr lang="en-GB" sz="2400" b="1">
                <a:solidFill>
                  <a:srgbClr val="E08806"/>
                </a:solidFill>
                <a:latin typeface="Tahoma" panose="020B0604030504040204" pitchFamily="34" charset="0"/>
                <a:ea typeface="Tahoma" panose="020B0604030504040204" pitchFamily="34" charset="0"/>
                <a:cs typeface="Tahoma" panose="020B0604030504040204" pitchFamily="34" charset="0"/>
              </a:rPr>
              <a:t>68% </a:t>
            </a:r>
          </a:p>
          <a:p>
            <a:pPr algn="ctr">
              <a:spcBef>
                <a:spcPts val="600"/>
              </a:spcBef>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of posts contain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ags through an @ in the caption</a:t>
            </a:r>
          </a:p>
        </p:txBody>
      </p:sp>
      <p:pic>
        <p:nvPicPr>
          <p:cNvPr id="37" name="Picture 36">
            <a:extLst>
              <a:ext uri="{FF2B5EF4-FFF2-40B4-BE49-F238E27FC236}">
                <a16:creationId xmlns:a16="http://schemas.microsoft.com/office/drawing/2014/main" id="{E9AA20C7-1207-2480-2F26-E9ADBD018C1E}"/>
              </a:ext>
            </a:extLst>
          </p:cNvPr>
          <p:cNvPicPr>
            <a:picLocks noChangeAspect="1"/>
          </p:cNvPicPr>
          <p:nvPr/>
        </p:nvPicPr>
        <p:blipFill>
          <a:blip r:embed="rId10"/>
          <a:srcRect/>
          <a:stretch/>
        </p:blipFill>
        <p:spPr>
          <a:xfrm>
            <a:off x="5008605" y="1733196"/>
            <a:ext cx="895820" cy="845386"/>
          </a:xfrm>
          <a:prstGeom prst="rect">
            <a:avLst/>
          </a:prstGeom>
        </p:spPr>
      </p:pic>
      <p:grpSp>
        <p:nvGrpSpPr>
          <p:cNvPr id="8" name="Group 7">
            <a:extLst>
              <a:ext uri="{FF2B5EF4-FFF2-40B4-BE49-F238E27FC236}">
                <a16:creationId xmlns:a16="http://schemas.microsoft.com/office/drawing/2014/main" id="{0A7FDA4A-AA6D-61D1-AD6A-92694C5609D5}"/>
              </a:ext>
            </a:extLst>
          </p:cNvPr>
          <p:cNvGrpSpPr/>
          <p:nvPr/>
        </p:nvGrpSpPr>
        <p:grpSpPr>
          <a:xfrm>
            <a:off x="3051739" y="1677645"/>
            <a:ext cx="1532673" cy="2990508"/>
            <a:chOff x="3073756" y="1677645"/>
            <a:chExt cx="1534576" cy="2990508"/>
          </a:xfrm>
        </p:grpSpPr>
        <p:sp>
          <p:nvSpPr>
            <p:cNvPr id="27" name="TextBox 26">
              <a:extLst>
                <a:ext uri="{FF2B5EF4-FFF2-40B4-BE49-F238E27FC236}">
                  <a16:creationId xmlns:a16="http://schemas.microsoft.com/office/drawing/2014/main" id="{4F59FA7F-C9F4-70CD-F495-CED92B4AA660}"/>
                </a:ext>
              </a:extLst>
            </p:cNvPr>
            <p:cNvSpPr txBox="1"/>
            <p:nvPr/>
          </p:nvSpPr>
          <p:spPr>
            <a:xfrm>
              <a:off x="3073756" y="2682994"/>
              <a:ext cx="1534576" cy="1985159"/>
            </a:xfrm>
            <a:prstGeom prst="rect">
              <a:avLst/>
            </a:prstGeom>
            <a:noFill/>
          </p:spPr>
          <p:txBody>
            <a:bodyPr wrap="square" rtlCol="0">
              <a:spAutoFit/>
            </a:bodyPr>
            <a:lstStyle/>
            <a:p>
              <a:pPr algn="ctr"/>
              <a:r>
                <a:rPr lang="en-GB" sz="2400" b="1">
                  <a:solidFill>
                    <a:srgbClr val="0F1A42"/>
                  </a:solidFill>
                  <a:latin typeface="Tahoma" panose="020B0604030504040204" pitchFamily="34" charset="0"/>
                  <a:ea typeface="Tahoma" panose="020B0604030504040204" pitchFamily="34" charset="0"/>
                  <a:cs typeface="Tahoma" panose="020B0604030504040204" pitchFamily="34" charset="0"/>
                </a:rPr>
                <a:t>56% </a:t>
              </a:r>
            </a:p>
            <a:p>
              <a:pPr algn="ctr">
                <a:spcBef>
                  <a:spcPts val="600"/>
                </a:spcBef>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of posts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ag a city</a:t>
              </a:r>
            </a:p>
            <a:p>
              <a:pPr algn="ctr">
                <a:spcBef>
                  <a:spcPts val="1200"/>
                </a:spcBef>
                <a:spcAft>
                  <a:spcPts val="600"/>
                </a:spcAft>
              </a:pP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f which only</a:t>
              </a:r>
            </a:p>
            <a:p>
              <a:pPr algn="ctr"/>
              <a:r>
                <a:rPr lang="en-GB" sz="2400" b="1">
                  <a:solidFill>
                    <a:srgbClr val="0F1A42"/>
                  </a:solidFill>
                  <a:latin typeface="Tahoma" panose="020B0604030504040204" pitchFamily="34" charset="0"/>
                  <a:ea typeface="Tahoma" panose="020B0604030504040204" pitchFamily="34" charset="0"/>
                  <a:cs typeface="Tahoma" panose="020B0604030504040204" pitchFamily="34" charset="0"/>
                </a:rPr>
                <a:t>     22%</a:t>
              </a:r>
            </a:p>
            <a:p>
              <a:pPr algn="ctr">
                <a:spcBef>
                  <a:spcPts val="600"/>
                </a:spcBef>
              </a:pPr>
              <a:r>
                <a:rPr lang="en-GB">
                  <a:solidFill>
                    <a:srgbClr val="0F1A42"/>
                  </a:solidFill>
                  <a:latin typeface="Tahoma" panose="020B0604030504040204" pitchFamily="34" charset="0"/>
                  <a:ea typeface="Tahoma" panose="020B0604030504040204" pitchFamily="34" charset="0"/>
                  <a:cs typeface="Tahoma" panose="020B0604030504040204" pitchFamily="34" charset="0"/>
                </a:rPr>
                <a:t>in Germany</a:t>
              </a:r>
            </a:p>
          </p:txBody>
        </p:sp>
        <p:pic>
          <p:nvPicPr>
            <p:cNvPr id="29" name="Graphic 28" descr="Marker with solid fill">
              <a:extLst>
                <a:ext uri="{FF2B5EF4-FFF2-40B4-BE49-F238E27FC236}">
                  <a16:creationId xmlns:a16="http://schemas.microsoft.com/office/drawing/2014/main" id="{E26D86F0-1F91-492B-691E-09644789562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29049" y="1677645"/>
              <a:ext cx="1015663" cy="1015663"/>
            </a:xfrm>
            <a:prstGeom prst="rect">
              <a:avLst/>
            </a:prstGeom>
          </p:spPr>
        </p:pic>
        <p:pic>
          <p:nvPicPr>
            <p:cNvPr id="1026" name="Picture 2" descr="Round german flag vector icon isolated on white background. The flag of  Germany in a circle 5863137 Vector Art at Vecteezy">
              <a:extLst>
                <a:ext uri="{FF2B5EF4-FFF2-40B4-BE49-F238E27FC236}">
                  <a16:creationId xmlns:a16="http://schemas.microsoft.com/office/drawing/2014/main" id="{498ADA16-3C71-2ECC-F72A-1292B784E849}"/>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173860" y="3879555"/>
              <a:ext cx="512623" cy="5126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DAD1BBF0-7560-4F6D-C8F9-6CBAA397937C}"/>
              </a:ext>
            </a:extLst>
          </p:cNvPr>
          <p:cNvGrpSpPr/>
          <p:nvPr/>
        </p:nvGrpSpPr>
        <p:grpSpPr>
          <a:xfrm>
            <a:off x="7644971" y="1677645"/>
            <a:ext cx="1534576" cy="3252118"/>
            <a:chOff x="7644971" y="1677645"/>
            <a:chExt cx="1534576" cy="3252118"/>
          </a:xfrm>
        </p:grpSpPr>
        <p:sp>
          <p:nvSpPr>
            <p:cNvPr id="35" name="TextBox 34">
              <a:extLst>
                <a:ext uri="{FF2B5EF4-FFF2-40B4-BE49-F238E27FC236}">
                  <a16:creationId xmlns:a16="http://schemas.microsoft.com/office/drawing/2014/main" id="{C8B9384A-3A16-201B-23CC-EC45A501B417}"/>
                </a:ext>
              </a:extLst>
            </p:cNvPr>
            <p:cNvSpPr txBox="1"/>
            <p:nvPr/>
          </p:nvSpPr>
          <p:spPr>
            <a:xfrm>
              <a:off x="7644971" y="2682994"/>
              <a:ext cx="1534576" cy="2246769"/>
            </a:xfrm>
            <a:prstGeom prst="rect">
              <a:avLst/>
            </a:prstGeom>
            <a:noFill/>
          </p:spPr>
          <p:txBody>
            <a:bodyPr wrap="square" rtlCol="0">
              <a:spAutoFit/>
            </a:bodyPr>
            <a:lstStyle/>
            <a:p>
              <a:pPr algn="ctr"/>
              <a:r>
                <a:rPr lang="en-GB" sz="2400" b="1">
                  <a:solidFill>
                    <a:srgbClr val="E08806"/>
                  </a:solidFill>
                  <a:latin typeface="Tahoma" panose="020B0604030504040204" pitchFamily="34" charset="0"/>
                  <a:ea typeface="Tahoma" panose="020B0604030504040204" pitchFamily="34" charset="0"/>
                  <a:cs typeface="Tahoma" panose="020B0604030504040204" pitchFamily="34" charset="0"/>
                </a:rPr>
                <a:t>2% </a:t>
              </a:r>
            </a:p>
            <a:p>
              <a:pPr algn="ctr">
                <a:spcBef>
                  <a:spcPts val="600"/>
                </a:spcBef>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of posts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ag a city</a:t>
              </a:r>
            </a:p>
            <a:p>
              <a:pPr algn="ctr">
                <a:spcBef>
                  <a:spcPts val="1200"/>
                </a:spcBef>
                <a:spcAft>
                  <a:spcPts val="600"/>
                </a:spcAft>
              </a:pP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f which</a:t>
              </a:r>
            </a:p>
            <a:p>
              <a:pPr algn="ctr"/>
              <a:r>
                <a:rPr lang="en-GB" sz="2400" b="1">
                  <a:solidFill>
                    <a:srgbClr val="0F1A42"/>
                  </a:solidFill>
                  <a:latin typeface="Tahoma" panose="020B0604030504040204" pitchFamily="34" charset="0"/>
                  <a:ea typeface="Tahoma" panose="020B0604030504040204" pitchFamily="34" charset="0"/>
                  <a:cs typeface="Tahoma" panose="020B0604030504040204" pitchFamily="34" charset="0"/>
                </a:rPr>
                <a:t>    93%</a:t>
              </a:r>
            </a:p>
            <a:p>
              <a:pPr algn="ctr">
                <a:spcBef>
                  <a:spcPts val="600"/>
                </a:spcBef>
              </a:pPr>
              <a:r>
                <a:rPr lang="en-GB">
                  <a:solidFill>
                    <a:srgbClr val="0F1A42"/>
                  </a:solidFill>
                  <a:latin typeface="Tahoma" panose="020B0604030504040204" pitchFamily="34" charset="0"/>
                  <a:ea typeface="Tahoma" panose="020B0604030504040204" pitchFamily="34" charset="0"/>
                  <a:cs typeface="Tahoma" panose="020B0604030504040204" pitchFamily="34" charset="0"/>
                </a:rPr>
                <a:t>in Singapore</a:t>
              </a:r>
            </a:p>
            <a:p>
              <a:pPr algn="ctr">
                <a:spcBef>
                  <a:spcPts val="600"/>
                </a:spcBef>
              </a:pPr>
              <a:endParaRPr lang="en-GB" sz="1200" b="1">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pic>
          <p:nvPicPr>
            <p:cNvPr id="36" name="Graphic 35" descr="Marker with solid fill">
              <a:extLst>
                <a:ext uri="{FF2B5EF4-FFF2-40B4-BE49-F238E27FC236}">
                  <a16:creationId xmlns:a16="http://schemas.microsoft.com/office/drawing/2014/main" id="{CC436DD2-494E-D940-DC32-B0D266367C8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00264" y="1677645"/>
              <a:ext cx="1015663" cy="1015663"/>
            </a:xfrm>
            <a:prstGeom prst="rect">
              <a:avLst/>
            </a:prstGeom>
          </p:spPr>
        </p:pic>
        <p:pic>
          <p:nvPicPr>
            <p:cNvPr id="5" name="Picture 2">
              <a:extLst>
                <a:ext uri="{FF2B5EF4-FFF2-40B4-BE49-F238E27FC236}">
                  <a16:creationId xmlns:a16="http://schemas.microsoft.com/office/drawing/2014/main" id="{8BC4D5DA-1973-2A65-F7AE-0A48C34FC9E8}"/>
                </a:ext>
              </a:extLst>
            </p:cNvPr>
            <p:cNvPicPr>
              <a:picLocks noChangeAspect="1" noChangeArrowheads="1"/>
            </p:cNvPicPr>
            <p:nvPr/>
          </p:nvPicPr>
          <p:blipFill>
            <a:blip r:embed="rId17"/>
            <a:srcRect/>
            <a:stretch/>
          </p:blipFill>
          <p:spPr bwMode="auto">
            <a:xfrm>
              <a:off x="7752075" y="3918396"/>
              <a:ext cx="451924" cy="452670"/>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itle 1">
            <a:extLst>
              <a:ext uri="{FF2B5EF4-FFF2-40B4-BE49-F238E27FC236}">
                <a16:creationId xmlns:a16="http://schemas.microsoft.com/office/drawing/2014/main" id="{E46CE033-3370-E277-5E0D-32CD1352EA9C}"/>
              </a:ext>
            </a:extLst>
          </p:cNvPr>
          <p:cNvSpPr txBox="1">
            <a:spLocks/>
          </p:cNvSpPr>
          <p:nvPr/>
        </p:nvSpPr>
        <p:spPr>
          <a:xfrm>
            <a:off x="517742" y="208723"/>
            <a:ext cx="8397658"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r>
              <a:rPr lang="en-GB"/>
              <a:t>Lufthansa leverages </a:t>
            </a:r>
            <a:r>
              <a:rPr lang="en-GB" err="1">
                <a:solidFill>
                  <a:schemeClr val="bg1">
                    <a:lumMod val="50000"/>
                  </a:schemeClr>
                </a:solidFill>
              </a:rPr>
              <a:t>tagGING</a:t>
            </a:r>
            <a:r>
              <a:rPr lang="en-GB"/>
              <a:t> more often</a:t>
            </a:r>
          </a:p>
        </p:txBody>
      </p:sp>
      <p:grpSp>
        <p:nvGrpSpPr>
          <p:cNvPr id="20" name="Group 19">
            <a:extLst>
              <a:ext uri="{FF2B5EF4-FFF2-40B4-BE49-F238E27FC236}">
                <a16:creationId xmlns:a16="http://schemas.microsoft.com/office/drawing/2014/main" id="{56AB80BE-817E-35AD-C152-6CDD5EECD645}"/>
              </a:ext>
            </a:extLst>
          </p:cNvPr>
          <p:cNvGrpSpPr/>
          <p:nvPr/>
        </p:nvGrpSpPr>
        <p:grpSpPr>
          <a:xfrm>
            <a:off x="1664725" y="1687483"/>
            <a:ext cx="1593660" cy="2872948"/>
            <a:chOff x="1664725" y="1687483"/>
            <a:chExt cx="1593660" cy="2872948"/>
          </a:xfrm>
        </p:grpSpPr>
        <p:pic>
          <p:nvPicPr>
            <p:cNvPr id="15" name="Graphic 14" descr="@ with solid fill">
              <a:extLst>
                <a:ext uri="{FF2B5EF4-FFF2-40B4-BE49-F238E27FC236}">
                  <a16:creationId xmlns:a16="http://schemas.microsoft.com/office/drawing/2014/main" id="{507631ED-34B0-3787-9465-55BAB5487FA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958642" y="1687483"/>
              <a:ext cx="1005825" cy="1005825"/>
            </a:xfrm>
            <a:prstGeom prst="rect">
              <a:avLst/>
            </a:prstGeom>
          </p:spPr>
        </p:pic>
        <p:sp>
          <p:nvSpPr>
            <p:cNvPr id="25" name="TextBox 24">
              <a:extLst>
                <a:ext uri="{FF2B5EF4-FFF2-40B4-BE49-F238E27FC236}">
                  <a16:creationId xmlns:a16="http://schemas.microsoft.com/office/drawing/2014/main" id="{405A05EF-EC34-28C3-88DF-FF6480560EE1}"/>
                </a:ext>
              </a:extLst>
            </p:cNvPr>
            <p:cNvSpPr txBox="1"/>
            <p:nvPr/>
          </p:nvSpPr>
          <p:spPr>
            <a:xfrm>
              <a:off x="1664725" y="2682994"/>
              <a:ext cx="1593660" cy="1877437"/>
            </a:xfrm>
            <a:prstGeom prst="rect">
              <a:avLst/>
            </a:prstGeom>
            <a:noFill/>
          </p:spPr>
          <p:txBody>
            <a:bodyPr wrap="square" rtlCol="0">
              <a:spAutoFit/>
            </a:bodyPr>
            <a:lstStyle/>
            <a:p>
              <a:pPr algn="ctr"/>
              <a:r>
                <a:rPr lang="en-GB" sz="2400" b="1">
                  <a:solidFill>
                    <a:srgbClr val="0F1A42"/>
                  </a:solidFill>
                  <a:latin typeface="Tahoma" panose="020B0604030504040204" pitchFamily="34" charset="0"/>
                  <a:ea typeface="Tahoma" panose="020B0604030504040204" pitchFamily="34" charset="0"/>
                  <a:cs typeface="Tahoma" panose="020B0604030504040204" pitchFamily="34" charset="0"/>
                </a:rPr>
                <a:t>63% </a:t>
              </a:r>
            </a:p>
            <a:p>
              <a:pPr algn="ctr">
                <a:spcBef>
                  <a:spcPts val="600"/>
                </a:spcBef>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of posts contain </a:t>
              </a: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ags through an  @ in the caption</a:t>
              </a:r>
            </a:p>
            <a:p>
              <a:pPr algn="ctr">
                <a:spcBef>
                  <a:spcPts val="600"/>
                </a:spcBef>
              </a:pPr>
              <a:endParaRPr lang="en-GB" sz="1200"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600"/>
                </a:spcBef>
              </a:pPr>
              <a:endParaRPr lang="en-GB" sz="1200" b="1">
                <a:solidFill>
                  <a:srgbClr val="0F1A42"/>
                </a:solidFill>
                <a:latin typeface="Tahoma" panose="020B0604030504040204" pitchFamily="34" charset="0"/>
                <a:ea typeface="Tahoma" panose="020B0604030504040204" pitchFamily="34" charset="0"/>
                <a:cs typeface="Tahoma" panose="020B0604030504040204" pitchFamily="34" charset="0"/>
              </a:endParaRPr>
            </a:p>
            <a:p>
              <a:pPr algn="ctr">
                <a:spcBef>
                  <a:spcPts val="600"/>
                </a:spcBef>
              </a:pPr>
              <a:endParaRPr lang="en-GB" sz="1200" b="1">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2" name="Group 1">
            <a:extLst>
              <a:ext uri="{FF2B5EF4-FFF2-40B4-BE49-F238E27FC236}">
                <a16:creationId xmlns:a16="http://schemas.microsoft.com/office/drawing/2014/main" id="{744F7BB8-12F4-361C-CDEE-543ECD0CB5A8}"/>
              </a:ext>
            </a:extLst>
          </p:cNvPr>
          <p:cNvGrpSpPr/>
          <p:nvPr/>
        </p:nvGrpSpPr>
        <p:grpSpPr>
          <a:xfrm>
            <a:off x="8407295" y="-28044"/>
            <a:ext cx="871964" cy="553028"/>
            <a:chOff x="8285465" y="79946"/>
            <a:chExt cx="871964" cy="553028"/>
          </a:xfrm>
        </p:grpSpPr>
        <p:sp>
          <p:nvSpPr>
            <p:cNvPr id="10" name="Google Shape;3967;p40">
              <a:extLst>
                <a:ext uri="{FF2B5EF4-FFF2-40B4-BE49-F238E27FC236}">
                  <a16:creationId xmlns:a16="http://schemas.microsoft.com/office/drawing/2014/main" id="{CCF5D571-AE70-1129-25FC-96DCF2EC5ABD}"/>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21" name="Graphic 20">
              <a:extLst>
                <a:ext uri="{FF2B5EF4-FFF2-40B4-BE49-F238E27FC236}">
                  <a16:creationId xmlns:a16="http://schemas.microsoft.com/office/drawing/2014/main" id="{D8B58D9C-851E-8728-F184-B23ADCC571D2}"/>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8561402" y="79946"/>
              <a:ext cx="348226" cy="348226"/>
            </a:xfrm>
            <a:prstGeom prst="rect">
              <a:avLst/>
            </a:prstGeom>
          </p:spPr>
        </p:pic>
      </p:grpSp>
    </p:spTree>
    <p:extLst>
      <p:ext uri="{BB962C8B-B14F-4D97-AF65-F5344CB8AC3E}">
        <p14:creationId xmlns:p14="http://schemas.microsoft.com/office/powerpoint/2010/main" val="2136715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966"/>
        <p:cNvGrpSpPr/>
        <p:nvPr/>
      </p:nvGrpSpPr>
      <p:grpSpPr>
        <a:xfrm>
          <a:off x="0" y="0"/>
          <a:ext cx="0" cy="0"/>
          <a:chOff x="0" y="0"/>
          <a:chExt cx="0" cy="0"/>
        </a:xfrm>
      </p:grpSpPr>
      <p:sp>
        <p:nvSpPr>
          <p:cNvPr id="3967" name="Google Shape;3967;p40"/>
          <p:cNvSpPr txBox="1">
            <a:spLocks noGrp="1"/>
          </p:cNvSpPr>
          <p:nvPr>
            <p:ph type="title"/>
          </p:nvPr>
        </p:nvSpPr>
        <p:spPr>
          <a:xfrm>
            <a:off x="2476501" y="3455848"/>
            <a:ext cx="5954250" cy="1300174"/>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Identifying The drivers of instagram engagement</a:t>
            </a:r>
            <a:endParaRPr/>
          </a:p>
        </p:txBody>
      </p:sp>
      <p:sp>
        <p:nvSpPr>
          <p:cNvPr id="3968" name="Google Shape;3968;p40"/>
          <p:cNvSpPr txBox="1">
            <a:spLocks noGrp="1"/>
          </p:cNvSpPr>
          <p:nvPr>
            <p:ph type="title" idx="2"/>
          </p:nvPr>
        </p:nvSpPr>
        <p:spPr>
          <a:xfrm>
            <a:off x="6577959" y="2376450"/>
            <a:ext cx="1852816" cy="841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3</a:t>
            </a:r>
            <a:endParaRPr lang="en-GB"/>
          </a:p>
        </p:txBody>
      </p:sp>
      <p:grpSp>
        <p:nvGrpSpPr>
          <p:cNvPr id="3970" name="Google Shape;3970;p40"/>
          <p:cNvGrpSpPr/>
          <p:nvPr/>
        </p:nvGrpSpPr>
        <p:grpSpPr>
          <a:xfrm>
            <a:off x="4151753" y="1411443"/>
            <a:ext cx="1763602" cy="1672817"/>
            <a:chOff x="4138184" y="930105"/>
            <a:chExt cx="3959591" cy="3755764"/>
          </a:xfrm>
        </p:grpSpPr>
        <p:sp>
          <p:nvSpPr>
            <p:cNvPr id="3971" name="Google Shape;3971;p4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72" name="Google Shape;3972;p40"/>
            <p:cNvGrpSpPr/>
            <p:nvPr/>
          </p:nvGrpSpPr>
          <p:grpSpPr>
            <a:xfrm>
              <a:off x="4138184" y="930105"/>
              <a:ext cx="3868174" cy="3755764"/>
              <a:chOff x="4138184" y="930105"/>
              <a:chExt cx="3868174" cy="3755764"/>
            </a:xfrm>
          </p:grpSpPr>
          <p:sp>
            <p:nvSpPr>
              <p:cNvPr id="3973" name="Google Shape;3973;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108" name="Google Shape;4108;p40"/>
          <p:cNvGrpSpPr/>
          <p:nvPr/>
        </p:nvGrpSpPr>
        <p:grpSpPr>
          <a:xfrm rot="-7355672">
            <a:off x="870850" y="88876"/>
            <a:ext cx="2053828" cy="1672589"/>
            <a:chOff x="3394530" y="930105"/>
            <a:chExt cx="4611828" cy="3755764"/>
          </a:xfrm>
        </p:grpSpPr>
        <p:sp>
          <p:nvSpPr>
            <p:cNvPr id="4109" name="Google Shape;4109;p40"/>
            <p:cNvSpPr/>
            <p:nvPr/>
          </p:nvSpPr>
          <p:spPr>
            <a:xfrm>
              <a:off x="3394530" y="121409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10" name="Google Shape;4110;p40"/>
            <p:cNvGrpSpPr/>
            <p:nvPr/>
          </p:nvGrpSpPr>
          <p:grpSpPr>
            <a:xfrm>
              <a:off x="4138184" y="930105"/>
              <a:ext cx="3868174" cy="3755764"/>
              <a:chOff x="4138184" y="930105"/>
              <a:chExt cx="3868174" cy="3755764"/>
            </a:xfrm>
          </p:grpSpPr>
          <p:sp>
            <p:nvSpPr>
              <p:cNvPr id="4111" name="Google Shape;4111;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246" name="Google Shape;4246;p40"/>
          <p:cNvSpPr/>
          <p:nvPr/>
        </p:nvSpPr>
        <p:spPr>
          <a:xfrm>
            <a:off x="2695575" y="577651"/>
            <a:ext cx="7524750" cy="852425"/>
          </a:xfrm>
          <a:custGeom>
            <a:avLst/>
            <a:gdLst/>
            <a:ahLst/>
            <a:cxnLst/>
            <a:rect l="l" t="t" r="r" b="b"/>
            <a:pathLst>
              <a:path w="300990" h="34097" extrusionOk="0">
                <a:moveTo>
                  <a:pt x="0" y="32520"/>
                </a:moveTo>
                <a:cubicBezTo>
                  <a:pt x="7924" y="35161"/>
                  <a:pt x="18859" y="34616"/>
                  <a:pt x="24765" y="28710"/>
                </a:cubicBezTo>
                <a:cubicBezTo>
                  <a:pt x="31243" y="22232"/>
                  <a:pt x="37345" y="15285"/>
                  <a:pt x="44577" y="9660"/>
                </a:cubicBezTo>
                <a:cubicBezTo>
                  <a:pt x="51934" y="3938"/>
                  <a:pt x="61556" y="578"/>
                  <a:pt x="70866" y="135"/>
                </a:cubicBezTo>
                <a:cubicBezTo>
                  <a:pt x="93542" y="-945"/>
                  <a:pt x="114127" y="15770"/>
                  <a:pt x="136779" y="17280"/>
                </a:cubicBezTo>
                <a:cubicBezTo>
                  <a:pt x="151596" y="18268"/>
                  <a:pt x="166931" y="14015"/>
                  <a:pt x="180213" y="7374"/>
                </a:cubicBezTo>
                <a:cubicBezTo>
                  <a:pt x="184785" y="5088"/>
                  <a:pt x="188887" y="1356"/>
                  <a:pt x="193929" y="516"/>
                </a:cubicBezTo>
                <a:cubicBezTo>
                  <a:pt x="209882" y="-2143"/>
                  <a:pt x="225483" y="7642"/>
                  <a:pt x="241173" y="11565"/>
                </a:cubicBezTo>
                <a:cubicBezTo>
                  <a:pt x="260630" y="16429"/>
                  <a:pt x="281089" y="15554"/>
                  <a:pt x="300990" y="18042"/>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4247" name="Google Shape;4247;p40"/>
          <p:cNvSpPr/>
          <p:nvPr/>
        </p:nvSpPr>
        <p:spPr>
          <a:xfrm>
            <a:off x="928277" y="2335969"/>
            <a:ext cx="3129375" cy="3560000"/>
          </a:xfrm>
          <a:custGeom>
            <a:avLst/>
            <a:gdLst/>
            <a:ahLst/>
            <a:cxnLst/>
            <a:rect l="l" t="t" r="r" b="b"/>
            <a:pathLst>
              <a:path w="125175" h="142400" extrusionOk="0">
                <a:moveTo>
                  <a:pt x="125175" y="12098"/>
                </a:moveTo>
                <a:cubicBezTo>
                  <a:pt x="108411" y="26068"/>
                  <a:pt x="79660" y="31892"/>
                  <a:pt x="60405" y="21623"/>
                </a:cubicBezTo>
                <a:cubicBezTo>
                  <a:pt x="54873" y="18673"/>
                  <a:pt x="57931" y="7034"/>
                  <a:pt x="62691" y="2954"/>
                </a:cubicBezTo>
                <a:cubicBezTo>
                  <a:pt x="67536" y="-1199"/>
                  <a:pt x="79371" y="-1066"/>
                  <a:pt x="81741" y="4859"/>
                </a:cubicBezTo>
                <a:cubicBezTo>
                  <a:pt x="84441" y="11609"/>
                  <a:pt x="78205" y="20786"/>
                  <a:pt x="71835" y="24290"/>
                </a:cubicBezTo>
                <a:cubicBezTo>
                  <a:pt x="65429" y="27813"/>
                  <a:pt x="57961" y="28946"/>
                  <a:pt x="50880" y="30767"/>
                </a:cubicBezTo>
                <a:cubicBezTo>
                  <a:pt x="36012" y="34590"/>
                  <a:pt x="17539" y="32866"/>
                  <a:pt x="6684" y="43721"/>
                </a:cubicBezTo>
                <a:cubicBezTo>
                  <a:pt x="1541" y="48864"/>
                  <a:pt x="-2432" y="59377"/>
                  <a:pt x="2112" y="65057"/>
                </a:cubicBezTo>
                <a:cubicBezTo>
                  <a:pt x="6988" y="71153"/>
                  <a:pt x="16706" y="70627"/>
                  <a:pt x="23829" y="73820"/>
                </a:cubicBezTo>
                <a:cubicBezTo>
                  <a:pt x="27143" y="75306"/>
                  <a:pt x="28734" y="79308"/>
                  <a:pt x="30306" y="82583"/>
                </a:cubicBezTo>
                <a:cubicBezTo>
                  <a:pt x="39052" y="100803"/>
                  <a:pt x="34691" y="128109"/>
                  <a:pt x="20400" y="142400"/>
                </a:cubicBezTo>
              </a:path>
            </a:pathLst>
          </a:custGeom>
          <a:noFill/>
          <a:ln w="19050" cap="flat" cmpd="sng">
            <a:solidFill>
              <a:schemeClr val="accent5"/>
            </a:solidFill>
            <a:prstDash val="dash"/>
            <a:round/>
            <a:headEnd type="none" w="med" len="med"/>
            <a:tailEnd type="none" w="med" len="med"/>
          </a:ln>
        </p:spPr>
        <p:txBody>
          <a:bodyPr/>
          <a:lstStyle/>
          <a:p>
            <a:endParaRPr lang="en-GB"/>
          </a:p>
        </p:txBody>
      </p:sp>
      <p:pic>
        <p:nvPicPr>
          <p:cNvPr id="3" name="Graphic 2" descr="Gears with solid fill">
            <a:extLst>
              <a:ext uri="{FF2B5EF4-FFF2-40B4-BE49-F238E27FC236}">
                <a16:creationId xmlns:a16="http://schemas.microsoft.com/office/drawing/2014/main" id="{41B28796-17A1-33DB-CF5E-80EC4053FD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5881" y="2333750"/>
            <a:ext cx="914400" cy="914400"/>
          </a:xfrm>
          <a:prstGeom prst="rect">
            <a:avLst/>
          </a:prstGeom>
        </p:spPr>
      </p:pic>
    </p:spTree>
    <p:extLst>
      <p:ext uri="{BB962C8B-B14F-4D97-AF65-F5344CB8AC3E}">
        <p14:creationId xmlns:p14="http://schemas.microsoft.com/office/powerpoint/2010/main" val="3454888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a:solidFill>
            <a:schemeClr val="accent5">
              <a:lumMod val="95000"/>
            </a:schemeClr>
          </a:solidFill>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1</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1</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rgbClr val="242F58"/>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2</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rgbClr val="242F58"/>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rgbClr val="242F58"/>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latin typeface="Calibri" panose="020F0502020204030204" pitchFamily="34" charset="0"/>
                <a:ea typeface="Calibri" panose="020F0502020204030204" pitchFamily="34" charset="0"/>
                <a:cs typeface="Calibri" panose="020F0502020204030204" pitchFamily="34" charset="0"/>
              </a:rPr>
              <a:t>Caption</a:t>
            </a:r>
            <a:endParaRPr lang="en-BE" b="1">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Pos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Image</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43" name="TextBox 42">
            <a:extLst>
              <a:ext uri="{FF2B5EF4-FFF2-40B4-BE49-F238E27FC236}">
                <a16:creationId xmlns:a16="http://schemas.microsoft.com/office/drawing/2014/main" id="{A35A73EC-BE33-C20F-EAAB-4EE7E225EC0C}"/>
              </a:ext>
            </a:extLst>
          </p:cNvPr>
          <p:cNvSpPr txBox="1"/>
          <p:nvPr/>
        </p:nvSpPr>
        <p:spPr>
          <a:xfrm>
            <a:off x="1080630" y="4486884"/>
            <a:ext cx="1967615" cy="630942"/>
          </a:xfrm>
          <a:prstGeom prst="rect">
            <a:avLst/>
          </a:prstGeom>
          <a:noFill/>
        </p:spPr>
        <p:txBody>
          <a:bodyPr wrap="square">
            <a:spAutoFit/>
          </a:bodyPr>
          <a:lstStyle/>
          <a:p>
            <a:pPr algn="l"/>
            <a:r>
              <a:rPr lang="en-GB" sz="700"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1 </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26</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48" name="TextBox 47">
            <a:extLst>
              <a:ext uri="{FF2B5EF4-FFF2-40B4-BE49-F238E27FC236}">
                <a16:creationId xmlns:a16="http://schemas.microsoft.com/office/drawing/2014/main" id="{6A923557-131D-CD14-97BE-657D1178CBA4}"/>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6"/>
                </a:solidFill>
                <a:latin typeface="Calibri" panose="020F0502020204030204" pitchFamily="34" charset="0"/>
                <a:ea typeface="Calibri" panose="020F0502020204030204" pitchFamily="34" charset="0"/>
                <a:cs typeface="Calibri" panose="020F0502020204030204" pitchFamily="34" charset="0"/>
              </a:rPr>
              <a:t>2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Meire</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83</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C9074260-BD6B-C356-B7ED-1BA68C8F1F5E}"/>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546E2ED1-B861-3A77-C787-9143E3DCCEA7}"/>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www.theverge.co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2015/9/27/9398551/</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photos-rule </a:t>
            </a:r>
          </a:p>
        </p:txBody>
      </p:sp>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Part of Day	     Season     Time Top Post</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Is Weekday</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Carousel     Vividness</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rgbClr val="242F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742336"/>
          </a:xfrm>
          <a:prstGeom prst="rect">
            <a:avLst/>
          </a:prstGeom>
          <a:noFill/>
        </p:spPr>
        <p:txBody>
          <a:bodyPr wrap="square" rtlCol="0">
            <a:spAutoFit/>
          </a:bodyPr>
          <a:lstStyle/>
          <a:p>
            <a:r>
              <a:rPr lang="en-GB" sz="4800" b="1">
                <a:solidFill>
                  <a:schemeClr val="accent4">
                    <a:lumMod val="50000"/>
                  </a:schemeClr>
                </a:solidFill>
              </a:rPr>
              <a:t>?</a:t>
            </a:r>
            <a:endParaRPr lang="en-BE" sz="4800" b="1">
              <a:solidFill>
                <a:schemeClr val="accent4">
                  <a:lumMod val="50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742336"/>
          </a:xfrm>
          <a:prstGeom prst="rect">
            <a:avLst/>
          </a:prstGeom>
          <a:noFill/>
        </p:spPr>
        <p:txBody>
          <a:bodyPr wrap="square" rtlCol="0">
            <a:spAutoFit/>
          </a:bodyPr>
          <a:lstStyle/>
          <a:p>
            <a:r>
              <a:rPr lang="en-GB" sz="4800" b="1">
                <a:solidFill>
                  <a:srgbClr val="242F58"/>
                </a:solidFill>
              </a:rPr>
              <a:t>!</a:t>
            </a:r>
            <a:endParaRPr lang="en-BE" sz="4800" b="1">
              <a:solidFill>
                <a:srgbClr val="242F58"/>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4">
                    <a:lumMod val="50000"/>
                  </a:schemeClr>
                </a:solidFill>
              </a:rPr>
              <a:t>ABC</a:t>
            </a:r>
            <a:endParaRPr lang="en-BE" sz="2400" b="1">
              <a:solidFill>
                <a:schemeClr val="accent4">
                  <a:lumMod val="50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a:solidFill>
            <a:schemeClr val="accent5">
              <a:lumMod val="95000"/>
            </a:schemeClr>
          </a:solidFill>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no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pic>
        <p:nvPicPr>
          <p:cNvPr id="29" name="Graphic 28" descr="Video camera with solid fill">
            <a:extLst>
              <a:ext uri="{FF2B5EF4-FFF2-40B4-BE49-F238E27FC236}">
                <a16:creationId xmlns:a16="http://schemas.microsoft.com/office/drawing/2014/main" id="{1A8118D3-C7DF-CFD6-FDBB-B2FCB4014C77}"/>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8224228" y="2237305"/>
            <a:ext cx="693931" cy="727367"/>
          </a:xfrm>
          <a:prstGeom prst="rect">
            <a:avLst/>
          </a:prstGeom>
        </p:spPr>
      </p:pic>
      <p:grpSp>
        <p:nvGrpSpPr>
          <p:cNvPr id="10" name="Group 9">
            <a:extLst>
              <a:ext uri="{FF2B5EF4-FFF2-40B4-BE49-F238E27FC236}">
                <a16:creationId xmlns:a16="http://schemas.microsoft.com/office/drawing/2014/main" id="{0C89454D-96EE-5C1A-C830-47EFFACC7B1F}"/>
              </a:ext>
            </a:extLst>
          </p:cNvPr>
          <p:cNvGrpSpPr/>
          <p:nvPr/>
        </p:nvGrpSpPr>
        <p:grpSpPr>
          <a:xfrm>
            <a:off x="8407295" y="-20424"/>
            <a:ext cx="871964" cy="568268"/>
            <a:chOff x="8285465" y="87566"/>
            <a:chExt cx="871964" cy="568268"/>
          </a:xfrm>
        </p:grpSpPr>
        <p:sp>
          <p:nvSpPr>
            <p:cNvPr id="11" name="Google Shape;3967;p40">
              <a:extLst>
                <a:ext uri="{FF2B5EF4-FFF2-40B4-BE49-F238E27FC236}">
                  <a16:creationId xmlns:a16="http://schemas.microsoft.com/office/drawing/2014/main" id="{5AB16AFE-D9B3-BE62-A02E-00332AD70EEE}"/>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16" name="Graphic 15">
              <a:extLst>
                <a:ext uri="{FF2B5EF4-FFF2-40B4-BE49-F238E27FC236}">
                  <a16:creationId xmlns:a16="http://schemas.microsoft.com/office/drawing/2014/main" id="{F655C8DB-F6B1-FE6B-711C-210FC4E9BB2E}"/>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10809924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a:solidFill>
            <a:schemeClr val="accent5">
              <a:lumMod val="95000"/>
            </a:schemeClr>
          </a:solidFill>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Sentiment</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2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a:solidFill>
                  <a:srgbClr val="242F58"/>
                </a:solidFill>
                <a:latin typeface="Calibri" panose="020F0502020204030204" pitchFamily="34" charset="0"/>
                <a:ea typeface="Calibri" panose="020F0502020204030204" pitchFamily="34" charset="0"/>
                <a:cs typeface="Calibri" panose="020F0502020204030204" pitchFamily="34" charset="0"/>
              </a:rPr>
              <a:t>Subjectivity</a:t>
            </a:r>
            <a:r>
              <a:rPr lang="en-GB" sz="1200" b="1" baseline="30000">
                <a:solidFill>
                  <a:srgbClr val="242F58"/>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Caption</a:t>
            </a:r>
            <a:endParaRPr lang="en-BE" b="1">
              <a:solidFill>
                <a:srgbClr val="242F58"/>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Pos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Image</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Part of Day	     Season     Time Top Post</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Is Weekday</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arousel     Vivid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chemeClr val="accent5">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a:solidFill>
            <a:schemeClr val="accent5">
              <a:lumMod val="95000"/>
            </a:schemeClr>
          </a:solidFill>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grp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pic>
        <p:nvPicPr>
          <p:cNvPr id="10" name="Graphic 9" descr="Video camera with solid fill">
            <a:extLst>
              <a:ext uri="{FF2B5EF4-FFF2-40B4-BE49-F238E27FC236}">
                <a16:creationId xmlns:a16="http://schemas.microsoft.com/office/drawing/2014/main" id="{725E9969-232E-1704-7B7F-5107C442C92A}"/>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8224228" y="2237305"/>
            <a:ext cx="693931" cy="727367"/>
          </a:xfrm>
          <a:prstGeom prst="rect">
            <a:avLst/>
          </a:prstGeom>
        </p:spPr>
      </p:pic>
      <p:sp>
        <p:nvSpPr>
          <p:cNvPr id="18" name="TextBox 17">
            <a:extLst>
              <a:ext uri="{FF2B5EF4-FFF2-40B4-BE49-F238E27FC236}">
                <a16:creationId xmlns:a16="http://schemas.microsoft.com/office/drawing/2014/main" id="{31C23AF5-2001-5BF3-1822-4ED4D81F3758}"/>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1</a:t>
            </a:r>
            <a:r>
              <a:rPr lang="en-GB" sz="700" b="0"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26</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77E708FD-0FA1-11BF-01C0-12BD2A29D4D4}"/>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6"/>
                </a:solidFill>
                <a:latin typeface="Calibri" panose="020F0502020204030204" pitchFamily="34" charset="0"/>
                <a:ea typeface="Calibri" panose="020F0502020204030204" pitchFamily="34" charset="0"/>
                <a:cs typeface="Calibri" panose="020F0502020204030204" pitchFamily="34" charset="0"/>
              </a:rPr>
              <a:t>2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Meire</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83</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D9F54747-A39E-D524-A7A2-927395510475}"/>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932157B6-093B-8AC5-2288-CC12CB430E65}"/>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grpSp>
        <p:nvGrpSpPr>
          <p:cNvPr id="43" name="Group 42">
            <a:extLst>
              <a:ext uri="{FF2B5EF4-FFF2-40B4-BE49-F238E27FC236}">
                <a16:creationId xmlns:a16="http://schemas.microsoft.com/office/drawing/2014/main" id="{9239A0AB-51D8-5CF5-19CE-04507F5CF2E8}"/>
              </a:ext>
            </a:extLst>
          </p:cNvPr>
          <p:cNvGrpSpPr/>
          <p:nvPr/>
        </p:nvGrpSpPr>
        <p:grpSpPr>
          <a:xfrm>
            <a:off x="8407295" y="-20424"/>
            <a:ext cx="871964" cy="568268"/>
            <a:chOff x="8285465" y="87566"/>
            <a:chExt cx="871964" cy="568268"/>
          </a:xfrm>
        </p:grpSpPr>
        <p:sp>
          <p:nvSpPr>
            <p:cNvPr id="48" name="Google Shape;3967;p40">
              <a:extLst>
                <a:ext uri="{FF2B5EF4-FFF2-40B4-BE49-F238E27FC236}">
                  <a16:creationId xmlns:a16="http://schemas.microsoft.com/office/drawing/2014/main" id="{FE4D48CF-B3ED-14CC-301D-EDED1BCE34C9}"/>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51" name="Graphic 50">
              <a:extLst>
                <a:ext uri="{FF2B5EF4-FFF2-40B4-BE49-F238E27FC236}">
                  <a16:creationId xmlns:a16="http://schemas.microsoft.com/office/drawing/2014/main" id="{2AB63F48-CBD6-A84F-4E55-3F76D34E6B2C}"/>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33781791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aption</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latin typeface="Calibri" panose="020F0502020204030204" pitchFamily="34" charset="0"/>
                <a:ea typeface="Calibri" panose="020F0502020204030204" pitchFamily="34" charset="0"/>
                <a:cs typeface="Calibri" panose="020F0502020204030204" pitchFamily="34" charset="0"/>
              </a:rPr>
              <a:t>Post</a:t>
            </a:r>
            <a:endParaRPr lang="en-BE" b="1">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Image</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43" name="TextBox 42">
            <a:extLst>
              <a:ext uri="{FF2B5EF4-FFF2-40B4-BE49-F238E27FC236}">
                <a16:creationId xmlns:a16="http://schemas.microsoft.com/office/drawing/2014/main" id="{A35A73EC-BE33-C20F-EAAB-4EE7E225EC0C}"/>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1</a:t>
            </a:r>
            <a:r>
              <a:rPr lang="en-GB" sz="700"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26</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48" name="TextBox 47">
            <a:extLst>
              <a:ext uri="{FF2B5EF4-FFF2-40B4-BE49-F238E27FC236}">
                <a16:creationId xmlns:a16="http://schemas.microsoft.com/office/drawing/2014/main" id="{6A923557-131D-CD14-97BE-657D1178CBA4}"/>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Meire</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83</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C9074260-BD6B-C356-B7ED-1BA68C8F1F5E}"/>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546E2ED1-B861-3A77-C787-9143E3DCCEA7}"/>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6"/>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6"/>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rgbClr val="242F58"/>
                </a:solidFill>
                <a:latin typeface="Calibri" panose="020F0502020204030204" pitchFamily="34" charset="0"/>
                <a:ea typeface="Tahoma" panose="020B0604030504040204" pitchFamily="34" charset="0"/>
                <a:cs typeface="Calibri" panose="020F0502020204030204" pitchFamily="34" charset="0"/>
              </a:rPr>
              <a:t>  Part of Day	     Season     Time Top Post</a:t>
            </a:r>
            <a:r>
              <a:rPr lang="en-GB" b="1" baseline="30000">
                <a:solidFill>
                  <a:srgbClr val="242F58"/>
                </a:solidFill>
                <a:latin typeface="Calibri" panose="020F0502020204030204" pitchFamily="34" charset="0"/>
                <a:ea typeface="Tahoma" panose="020B0604030504040204" pitchFamily="34" charset="0"/>
                <a:cs typeface="Calibri" panose="020F0502020204030204" pitchFamily="34" charset="0"/>
              </a:rPr>
              <a:t>1</a:t>
            </a:r>
            <a:r>
              <a:rPr lang="en-GB" b="1">
                <a:solidFill>
                  <a:srgbClr val="242F58"/>
                </a:solidFill>
                <a:latin typeface="Calibri" panose="020F0502020204030204" pitchFamily="34" charset="0"/>
                <a:ea typeface="Tahoma" panose="020B0604030504040204" pitchFamily="34" charset="0"/>
                <a:cs typeface="Calibri" panose="020F0502020204030204" pitchFamily="34" charset="0"/>
              </a:rPr>
              <a:t>     Is Weekday</a:t>
            </a:r>
            <a:r>
              <a:rPr lang="en-GB" b="1" baseline="30000">
                <a:solidFill>
                  <a:srgbClr val="242F58"/>
                </a:solidFill>
                <a:latin typeface="Calibri" panose="020F0502020204030204" pitchFamily="34" charset="0"/>
                <a:ea typeface="Tahoma" panose="020B0604030504040204" pitchFamily="34" charset="0"/>
                <a:cs typeface="Calibri" panose="020F0502020204030204" pitchFamily="34" charset="0"/>
              </a:rPr>
              <a:t>1</a:t>
            </a:r>
            <a:r>
              <a:rPr lang="en-GB" b="1">
                <a:solidFill>
                  <a:srgbClr val="242F58"/>
                </a:solidFill>
                <a:latin typeface="Calibri" panose="020F0502020204030204" pitchFamily="34" charset="0"/>
                <a:ea typeface="Tahoma" panose="020B0604030504040204" pitchFamily="34" charset="0"/>
                <a:cs typeface="Calibri" panose="020F0502020204030204" pitchFamily="34" charset="0"/>
              </a:rPr>
              <a:t>     Location    Aspect Ratio</a:t>
            </a:r>
            <a:r>
              <a:rPr lang="en-GB" b="1" baseline="30000">
                <a:solidFill>
                  <a:srgbClr val="242F58"/>
                </a:solidFill>
                <a:latin typeface="Calibri" panose="020F0502020204030204" pitchFamily="34" charset="0"/>
                <a:ea typeface="Tahoma" panose="020B0604030504040204" pitchFamily="34" charset="0"/>
                <a:cs typeface="Calibri" panose="020F0502020204030204" pitchFamily="34" charset="0"/>
              </a:rPr>
              <a:t>3</a:t>
            </a:r>
            <a:r>
              <a:rPr lang="en-GB" b="1">
                <a:solidFill>
                  <a:srgbClr val="242F58"/>
                </a:solidFill>
                <a:latin typeface="Calibri" panose="020F0502020204030204" pitchFamily="34" charset="0"/>
                <a:ea typeface="Tahoma" panose="020B0604030504040204" pitchFamily="34" charset="0"/>
                <a:cs typeface="Calibri" panose="020F0502020204030204" pitchFamily="34" charset="0"/>
              </a:rPr>
              <a:t>     Carousel     Vividness</a:t>
            </a:r>
            <a:r>
              <a:rPr lang="en-GB" b="1" baseline="30000">
                <a:solidFill>
                  <a:srgbClr val="242F58"/>
                </a:solidFill>
                <a:latin typeface="Calibri" panose="020F0502020204030204" pitchFamily="34" charset="0"/>
                <a:ea typeface="Tahoma" panose="020B0604030504040204" pitchFamily="34" charset="0"/>
                <a:cs typeface="Calibri" panose="020F0502020204030204" pitchFamily="34" charset="0"/>
              </a:rPr>
              <a:t>1</a:t>
            </a:r>
            <a:r>
              <a:rPr lang="en-GB" b="1">
                <a:solidFill>
                  <a:srgbClr val="242F58"/>
                </a:solidFill>
                <a:latin typeface="Calibri" panose="020F0502020204030204" pitchFamily="34" charset="0"/>
                <a:ea typeface="Tahoma" panose="020B0604030504040204" pitchFamily="34" charset="0"/>
                <a:cs typeface="Calibri" panose="020F0502020204030204" pitchFamily="34" charset="0"/>
              </a:rPr>
              <a:t>           </a:t>
            </a:r>
            <a:endParaRPr lang="en-BE" b="1">
              <a:solidFill>
                <a:srgbClr val="242F58"/>
              </a:solidFill>
              <a:latin typeface="Calibri" panose="020F0502020204030204" pitchFamily="34" charset="0"/>
              <a:ea typeface="Tahoma" panose="020B060403050404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rgbClr val="242F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no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pic>
        <p:nvPicPr>
          <p:cNvPr id="29" name="Graphic 28" descr="Video camera with solid fill">
            <a:extLst>
              <a:ext uri="{FF2B5EF4-FFF2-40B4-BE49-F238E27FC236}">
                <a16:creationId xmlns:a16="http://schemas.microsoft.com/office/drawing/2014/main" id="{1A8118D3-C7DF-CFD6-FDBB-B2FCB4014C77}"/>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8224228" y="2237305"/>
            <a:ext cx="693931" cy="727367"/>
          </a:xfrm>
          <a:prstGeom prst="rect">
            <a:avLst/>
          </a:prstGeom>
        </p:spPr>
      </p:pic>
      <p:grpSp>
        <p:nvGrpSpPr>
          <p:cNvPr id="10" name="Group 9">
            <a:extLst>
              <a:ext uri="{FF2B5EF4-FFF2-40B4-BE49-F238E27FC236}">
                <a16:creationId xmlns:a16="http://schemas.microsoft.com/office/drawing/2014/main" id="{5A5C148B-AE2D-7E5D-B742-9AA7F2B32179}"/>
              </a:ext>
            </a:extLst>
          </p:cNvPr>
          <p:cNvGrpSpPr/>
          <p:nvPr/>
        </p:nvGrpSpPr>
        <p:grpSpPr>
          <a:xfrm>
            <a:off x="8407295" y="-20424"/>
            <a:ext cx="871964" cy="568268"/>
            <a:chOff x="8285465" y="87566"/>
            <a:chExt cx="871964" cy="568268"/>
          </a:xfrm>
        </p:grpSpPr>
        <p:sp>
          <p:nvSpPr>
            <p:cNvPr id="11" name="Google Shape;3967;p40">
              <a:extLst>
                <a:ext uri="{FF2B5EF4-FFF2-40B4-BE49-F238E27FC236}">
                  <a16:creationId xmlns:a16="http://schemas.microsoft.com/office/drawing/2014/main" id="{94EAF77A-D1EA-6661-2D64-37790547C77A}"/>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16" name="Graphic 15">
              <a:extLst>
                <a:ext uri="{FF2B5EF4-FFF2-40B4-BE49-F238E27FC236}">
                  <a16:creationId xmlns:a16="http://schemas.microsoft.com/office/drawing/2014/main" id="{F4287C1A-936B-E17C-77CE-E81CA56B7FBB}"/>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363713593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a:solidFill>
            <a:schemeClr val="accent5">
              <a:lumMod val="95000"/>
            </a:schemeClr>
          </a:solidFill>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chemeClr val="accent5">
                    <a:lumMod val="95000"/>
                  </a:schemeClr>
                </a:solidFill>
                <a:latin typeface="Lexend Deca"/>
              </a:rPr>
              <a:t>Caption</a:t>
            </a:r>
            <a:endParaRPr lang="en-BE" b="1">
              <a:solidFill>
                <a:schemeClr val="accent5">
                  <a:lumMod val="95000"/>
                </a:schemeClr>
              </a:solidFill>
              <a:latin typeface="Lexend Deca"/>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82211" cy="307777"/>
          </a:xfrm>
          <a:prstGeom prst="rect">
            <a:avLst/>
          </a:prstGeom>
          <a:noFill/>
        </p:spPr>
        <p:txBody>
          <a:bodyPr wrap="none" rtlCol="0">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Post</a:t>
            </a:r>
            <a:endParaRPr lang="en-BE" b="1">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chemeClr val="accent5">
                    <a:lumMod val="95000"/>
                  </a:schemeClr>
                </a:solidFill>
                <a:latin typeface="Lexend Deca"/>
              </a:rPr>
              <a:t>Image</a:t>
            </a:r>
            <a:endParaRPr lang="en-BE" b="1">
              <a:solidFill>
                <a:schemeClr val="accent5">
                  <a:lumMod val="95000"/>
                </a:schemeClr>
              </a:solidFill>
              <a:latin typeface="Lexend Deca"/>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Part of Day	     Season     </a:t>
            </a:r>
            <a:r>
              <a:rPr lang="en-GB" b="1">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Time Top Post</a:t>
            </a:r>
            <a:r>
              <a:rPr lang="en-GB" b="1" baseline="30000">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Is Weekday</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arousel     Vivid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chemeClr val="accent5">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13">
              <a:extLst>
                <a:ext uri="{96DAC541-7B7A-43D3-8B79-37D633B846F1}">
                  <asvg:svgBlip xmlns:asvg="http://schemas.microsoft.com/office/drawing/2016/SVG/main" r:embed="rId45"/>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a:solidFill>
            <a:schemeClr val="accent5">
              <a:lumMod val="95000"/>
            </a:schemeClr>
          </a:solidFill>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grp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pic>
        <p:nvPicPr>
          <p:cNvPr id="10" name="Graphic 9" descr="Video camera with solid fill">
            <a:extLst>
              <a:ext uri="{FF2B5EF4-FFF2-40B4-BE49-F238E27FC236}">
                <a16:creationId xmlns:a16="http://schemas.microsoft.com/office/drawing/2014/main" id="{1AD669D6-A728-47D3-8890-AE083CF92E24}"/>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224228" y="2237305"/>
            <a:ext cx="693931" cy="727367"/>
          </a:xfrm>
          <a:prstGeom prst="rect">
            <a:avLst/>
          </a:prstGeom>
        </p:spPr>
      </p:pic>
      <p:sp>
        <p:nvSpPr>
          <p:cNvPr id="18" name="TextBox 17">
            <a:extLst>
              <a:ext uri="{FF2B5EF4-FFF2-40B4-BE49-F238E27FC236}">
                <a16:creationId xmlns:a16="http://schemas.microsoft.com/office/drawing/2014/main" id="{C81A3C2C-F6F7-B399-5FE6-CE287966D840}"/>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1</a:t>
            </a:r>
            <a:r>
              <a:rPr lang="en-GB" sz="700"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26</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C8A926EA-D5DD-F061-6EBB-9595FC0243BD}"/>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Meire</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83</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CA2D48F7-3789-2793-9218-261B8A7CF5FD}"/>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A999119C-51F7-313C-1CE0-BD9F25F14E5E}"/>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grpSp>
        <p:nvGrpSpPr>
          <p:cNvPr id="43" name="Group 42">
            <a:extLst>
              <a:ext uri="{FF2B5EF4-FFF2-40B4-BE49-F238E27FC236}">
                <a16:creationId xmlns:a16="http://schemas.microsoft.com/office/drawing/2014/main" id="{BF96123E-64BD-4227-67F1-5FE147390093}"/>
              </a:ext>
            </a:extLst>
          </p:cNvPr>
          <p:cNvGrpSpPr/>
          <p:nvPr/>
        </p:nvGrpSpPr>
        <p:grpSpPr>
          <a:xfrm>
            <a:off x="8407295" y="-20424"/>
            <a:ext cx="871964" cy="568268"/>
            <a:chOff x="8285465" y="87566"/>
            <a:chExt cx="871964" cy="568268"/>
          </a:xfrm>
        </p:grpSpPr>
        <p:sp>
          <p:nvSpPr>
            <p:cNvPr id="48" name="Google Shape;3967;p40">
              <a:extLst>
                <a:ext uri="{FF2B5EF4-FFF2-40B4-BE49-F238E27FC236}">
                  <a16:creationId xmlns:a16="http://schemas.microsoft.com/office/drawing/2014/main" id="{EE4BD646-05AA-B4DA-9220-4C5BAA2C322F}"/>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51" name="Graphic 50">
              <a:extLst>
                <a:ext uri="{FF2B5EF4-FFF2-40B4-BE49-F238E27FC236}">
                  <a16:creationId xmlns:a16="http://schemas.microsoft.com/office/drawing/2014/main" id="{A1E4792E-DDBE-65EF-6A56-0C56B56AB64A}"/>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2556687355"/>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966"/>
        <p:cNvGrpSpPr/>
        <p:nvPr/>
      </p:nvGrpSpPr>
      <p:grpSpPr>
        <a:xfrm>
          <a:off x="0" y="0"/>
          <a:ext cx="0" cy="0"/>
          <a:chOff x="0" y="0"/>
          <a:chExt cx="0" cy="0"/>
        </a:xfrm>
      </p:grpSpPr>
      <p:sp>
        <p:nvSpPr>
          <p:cNvPr id="3967" name="Google Shape;3967;p40"/>
          <p:cNvSpPr txBox="1">
            <a:spLocks noGrp="1"/>
          </p:cNvSpPr>
          <p:nvPr>
            <p:ph type="title"/>
          </p:nvPr>
        </p:nvSpPr>
        <p:spPr>
          <a:xfrm>
            <a:off x="1035608" y="3455848"/>
            <a:ext cx="7395142" cy="1300174"/>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nl-BE" sz="4000">
                <a:solidFill>
                  <a:srgbClr val="0F1A42"/>
                </a:solidFill>
              </a:rPr>
              <a:t>Lufthansa </a:t>
            </a:r>
            <a:r>
              <a:rPr lang="nl-BE" sz="4000" err="1">
                <a:solidFill>
                  <a:srgbClr val="0F1A42"/>
                </a:solidFill>
              </a:rPr>
              <a:t>vs</a:t>
            </a:r>
            <a:r>
              <a:rPr lang="nl-BE" sz="4000">
                <a:solidFill>
                  <a:srgbClr val="0F1A42"/>
                </a:solidFill>
              </a:rPr>
              <a:t> SINGAPOREAIR:</a:t>
            </a:r>
            <a:br>
              <a:rPr lang="nl-BE" sz="4000">
                <a:solidFill>
                  <a:srgbClr val="0F1A42"/>
                </a:solidFill>
              </a:rPr>
            </a:br>
            <a:r>
              <a:rPr lang="nl-BE" sz="4000">
                <a:solidFill>
                  <a:srgbClr val="0F1A42"/>
                </a:solidFill>
              </a:rPr>
              <a:t>A </a:t>
            </a:r>
            <a:r>
              <a:rPr lang="nl-BE" sz="4000" err="1">
                <a:solidFill>
                  <a:srgbClr val="0F1A42"/>
                </a:solidFill>
              </a:rPr>
              <a:t>general</a:t>
            </a:r>
            <a:r>
              <a:rPr lang="nl-BE" sz="4000">
                <a:solidFill>
                  <a:srgbClr val="0F1A42"/>
                </a:solidFill>
              </a:rPr>
              <a:t> </a:t>
            </a:r>
            <a:r>
              <a:rPr lang="nl-BE" sz="4000" err="1">
                <a:solidFill>
                  <a:srgbClr val="0F1A42"/>
                </a:solidFill>
              </a:rPr>
              <a:t>comparison</a:t>
            </a:r>
            <a:endParaRPr lang="nl-BE" sz="4000">
              <a:solidFill>
                <a:srgbClr val="0F1A42"/>
              </a:solidFill>
            </a:endParaRPr>
          </a:p>
        </p:txBody>
      </p:sp>
      <p:sp>
        <p:nvSpPr>
          <p:cNvPr id="3968" name="Google Shape;3968;p40"/>
          <p:cNvSpPr txBox="1">
            <a:spLocks noGrp="1"/>
          </p:cNvSpPr>
          <p:nvPr>
            <p:ph type="title" idx="2"/>
          </p:nvPr>
        </p:nvSpPr>
        <p:spPr>
          <a:xfrm>
            <a:off x="5924426" y="2376450"/>
            <a:ext cx="2506349" cy="841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1</a:t>
            </a:r>
            <a:endParaRPr lang="en-GB"/>
          </a:p>
        </p:txBody>
      </p:sp>
      <p:grpSp>
        <p:nvGrpSpPr>
          <p:cNvPr id="3970" name="Google Shape;3970;p40"/>
          <p:cNvGrpSpPr/>
          <p:nvPr/>
        </p:nvGrpSpPr>
        <p:grpSpPr>
          <a:xfrm>
            <a:off x="4151753" y="1411443"/>
            <a:ext cx="1763602" cy="1672817"/>
            <a:chOff x="4138184" y="930105"/>
            <a:chExt cx="3959591" cy="3755764"/>
          </a:xfrm>
        </p:grpSpPr>
        <p:sp>
          <p:nvSpPr>
            <p:cNvPr id="3971" name="Google Shape;3971;p4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72" name="Google Shape;3972;p40"/>
            <p:cNvGrpSpPr/>
            <p:nvPr/>
          </p:nvGrpSpPr>
          <p:grpSpPr>
            <a:xfrm>
              <a:off x="4138184" y="930105"/>
              <a:ext cx="3868174" cy="3755764"/>
              <a:chOff x="4138184" y="930105"/>
              <a:chExt cx="3868174" cy="3755764"/>
            </a:xfrm>
          </p:grpSpPr>
          <p:sp>
            <p:nvSpPr>
              <p:cNvPr id="3973" name="Google Shape;3973;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108" name="Google Shape;4108;p40"/>
          <p:cNvGrpSpPr/>
          <p:nvPr/>
        </p:nvGrpSpPr>
        <p:grpSpPr>
          <a:xfrm rot="-7355672">
            <a:off x="870850" y="88876"/>
            <a:ext cx="2053828" cy="1672589"/>
            <a:chOff x="3394530" y="930105"/>
            <a:chExt cx="4611828" cy="3755764"/>
          </a:xfrm>
        </p:grpSpPr>
        <p:sp>
          <p:nvSpPr>
            <p:cNvPr id="4109" name="Google Shape;4109;p40"/>
            <p:cNvSpPr/>
            <p:nvPr/>
          </p:nvSpPr>
          <p:spPr>
            <a:xfrm>
              <a:off x="3394530" y="121409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10" name="Google Shape;4110;p40"/>
            <p:cNvGrpSpPr/>
            <p:nvPr/>
          </p:nvGrpSpPr>
          <p:grpSpPr>
            <a:xfrm>
              <a:off x="4138184" y="930105"/>
              <a:ext cx="3868174" cy="3755764"/>
              <a:chOff x="4138184" y="930105"/>
              <a:chExt cx="3868174" cy="3755764"/>
            </a:xfrm>
          </p:grpSpPr>
          <p:sp>
            <p:nvSpPr>
              <p:cNvPr id="4111" name="Google Shape;4111;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246" name="Google Shape;4246;p40"/>
          <p:cNvSpPr/>
          <p:nvPr/>
        </p:nvSpPr>
        <p:spPr>
          <a:xfrm>
            <a:off x="2695575" y="577651"/>
            <a:ext cx="7524750" cy="852425"/>
          </a:xfrm>
          <a:custGeom>
            <a:avLst/>
            <a:gdLst/>
            <a:ahLst/>
            <a:cxnLst/>
            <a:rect l="l" t="t" r="r" b="b"/>
            <a:pathLst>
              <a:path w="300990" h="34097" extrusionOk="0">
                <a:moveTo>
                  <a:pt x="0" y="32520"/>
                </a:moveTo>
                <a:cubicBezTo>
                  <a:pt x="7924" y="35161"/>
                  <a:pt x="18859" y="34616"/>
                  <a:pt x="24765" y="28710"/>
                </a:cubicBezTo>
                <a:cubicBezTo>
                  <a:pt x="31243" y="22232"/>
                  <a:pt x="37345" y="15285"/>
                  <a:pt x="44577" y="9660"/>
                </a:cubicBezTo>
                <a:cubicBezTo>
                  <a:pt x="51934" y="3938"/>
                  <a:pt x="61556" y="578"/>
                  <a:pt x="70866" y="135"/>
                </a:cubicBezTo>
                <a:cubicBezTo>
                  <a:pt x="93542" y="-945"/>
                  <a:pt x="114127" y="15770"/>
                  <a:pt x="136779" y="17280"/>
                </a:cubicBezTo>
                <a:cubicBezTo>
                  <a:pt x="151596" y="18268"/>
                  <a:pt x="166931" y="14015"/>
                  <a:pt x="180213" y="7374"/>
                </a:cubicBezTo>
                <a:cubicBezTo>
                  <a:pt x="184785" y="5088"/>
                  <a:pt x="188887" y="1356"/>
                  <a:pt x="193929" y="516"/>
                </a:cubicBezTo>
                <a:cubicBezTo>
                  <a:pt x="209882" y="-2143"/>
                  <a:pt x="225483" y="7642"/>
                  <a:pt x="241173" y="11565"/>
                </a:cubicBezTo>
                <a:cubicBezTo>
                  <a:pt x="260630" y="16429"/>
                  <a:pt x="281089" y="15554"/>
                  <a:pt x="300990" y="18042"/>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4247" name="Google Shape;4247;p40"/>
          <p:cNvSpPr/>
          <p:nvPr/>
        </p:nvSpPr>
        <p:spPr>
          <a:xfrm>
            <a:off x="928277" y="2335969"/>
            <a:ext cx="3129375" cy="3560000"/>
          </a:xfrm>
          <a:custGeom>
            <a:avLst/>
            <a:gdLst/>
            <a:ahLst/>
            <a:cxnLst/>
            <a:rect l="l" t="t" r="r" b="b"/>
            <a:pathLst>
              <a:path w="125175" h="142400" extrusionOk="0">
                <a:moveTo>
                  <a:pt x="125175" y="12098"/>
                </a:moveTo>
                <a:cubicBezTo>
                  <a:pt x="108411" y="26068"/>
                  <a:pt x="79660" y="31892"/>
                  <a:pt x="60405" y="21623"/>
                </a:cubicBezTo>
                <a:cubicBezTo>
                  <a:pt x="54873" y="18673"/>
                  <a:pt x="57931" y="7034"/>
                  <a:pt x="62691" y="2954"/>
                </a:cubicBezTo>
                <a:cubicBezTo>
                  <a:pt x="67536" y="-1199"/>
                  <a:pt x="79371" y="-1066"/>
                  <a:pt x="81741" y="4859"/>
                </a:cubicBezTo>
                <a:cubicBezTo>
                  <a:pt x="84441" y="11609"/>
                  <a:pt x="78205" y="20786"/>
                  <a:pt x="71835" y="24290"/>
                </a:cubicBezTo>
                <a:cubicBezTo>
                  <a:pt x="65429" y="27813"/>
                  <a:pt x="57961" y="28946"/>
                  <a:pt x="50880" y="30767"/>
                </a:cubicBezTo>
                <a:cubicBezTo>
                  <a:pt x="36012" y="34590"/>
                  <a:pt x="17539" y="32866"/>
                  <a:pt x="6684" y="43721"/>
                </a:cubicBezTo>
                <a:cubicBezTo>
                  <a:pt x="1541" y="48864"/>
                  <a:pt x="-2432" y="59377"/>
                  <a:pt x="2112" y="65057"/>
                </a:cubicBezTo>
                <a:cubicBezTo>
                  <a:pt x="6988" y="71153"/>
                  <a:pt x="16706" y="70627"/>
                  <a:pt x="23829" y="73820"/>
                </a:cubicBezTo>
                <a:cubicBezTo>
                  <a:pt x="27143" y="75306"/>
                  <a:pt x="28734" y="79308"/>
                  <a:pt x="30306" y="82583"/>
                </a:cubicBezTo>
                <a:cubicBezTo>
                  <a:pt x="39052" y="100803"/>
                  <a:pt x="34691" y="128109"/>
                  <a:pt x="20400" y="142400"/>
                </a:cubicBezTo>
              </a:path>
            </a:pathLst>
          </a:custGeom>
          <a:noFill/>
          <a:ln w="19050" cap="flat" cmpd="sng">
            <a:solidFill>
              <a:schemeClr val="accent5"/>
            </a:solidFill>
            <a:prstDash val="dash"/>
            <a:round/>
            <a:headEnd type="none" w="med" len="med"/>
            <a:tailEnd type="none" w="med" len="med"/>
          </a:ln>
        </p:spPr>
        <p:txBody>
          <a:bodyPr/>
          <a:lstStyle/>
          <a:p>
            <a:endParaRPr lang="en-GB"/>
          </a:p>
        </p:txBody>
      </p:sp>
      <p:grpSp>
        <p:nvGrpSpPr>
          <p:cNvPr id="12" name="Group 11">
            <a:extLst>
              <a:ext uri="{FF2B5EF4-FFF2-40B4-BE49-F238E27FC236}">
                <a16:creationId xmlns:a16="http://schemas.microsoft.com/office/drawing/2014/main" id="{AA957DA4-32AA-4F78-5264-61AA70962927}"/>
              </a:ext>
            </a:extLst>
          </p:cNvPr>
          <p:cNvGrpSpPr/>
          <p:nvPr/>
        </p:nvGrpSpPr>
        <p:grpSpPr>
          <a:xfrm>
            <a:off x="6106724" y="2432751"/>
            <a:ext cx="1123806" cy="715902"/>
            <a:chOff x="6106724" y="2432751"/>
            <a:chExt cx="1123806" cy="715902"/>
          </a:xfrm>
        </p:grpSpPr>
        <p:sp>
          <p:nvSpPr>
            <p:cNvPr id="8" name="Freeform: Shape 7">
              <a:extLst>
                <a:ext uri="{FF2B5EF4-FFF2-40B4-BE49-F238E27FC236}">
                  <a16:creationId xmlns:a16="http://schemas.microsoft.com/office/drawing/2014/main" id="{0A9F45ED-FF57-28F0-5179-AF38DB24EFF7}"/>
                </a:ext>
              </a:extLst>
            </p:cNvPr>
            <p:cNvSpPr/>
            <p:nvPr/>
          </p:nvSpPr>
          <p:spPr>
            <a:xfrm>
              <a:off x="6106724" y="2432751"/>
              <a:ext cx="571904" cy="715902"/>
            </a:xfrm>
            <a:custGeom>
              <a:avLst/>
              <a:gdLst>
                <a:gd name="connsiteX0" fmla="*/ 357951 w 571904"/>
                <a:gd name="connsiteY0" fmla="*/ 0 h 715902"/>
                <a:gd name="connsiteX1" fmla="*/ 558085 w 571904"/>
                <a:gd name="connsiteY1" fmla="*/ 61132 h 715902"/>
                <a:gd name="connsiteX2" fmla="*/ 571904 w 571904"/>
                <a:gd name="connsiteY2" fmla="*/ 72534 h 715902"/>
                <a:gd name="connsiteX3" fmla="*/ 532747 w 571904"/>
                <a:gd name="connsiteY3" fmla="*/ 104841 h 715902"/>
                <a:gd name="connsiteX4" fmla="*/ 427906 w 571904"/>
                <a:gd name="connsiteY4" fmla="*/ 357951 h 715902"/>
                <a:gd name="connsiteX5" fmla="*/ 532747 w 571904"/>
                <a:gd name="connsiteY5" fmla="*/ 611061 h 715902"/>
                <a:gd name="connsiteX6" fmla="*/ 571904 w 571904"/>
                <a:gd name="connsiteY6" fmla="*/ 643368 h 715902"/>
                <a:gd name="connsiteX7" fmla="*/ 558085 w 571904"/>
                <a:gd name="connsiteY7" fmla="*/ 654770 h 715902"/>
                <a:gd name="connsiteX8" fmla="*/ 357951 w 571904"/>
                <a:gd name="connsiteY8" fmla="*/ 715902 h 715902"/>
                <a:gd name="connsiteX9" fmla="*/ 0 w 571904"/>
                <a:gd name="connsiteY9" fmla="*/ 357951 h 715902"/>
                <a:gd name="connsiteX10" fmla="*/ 357951 w 571904"/>
                <a:gd name="connsiteY10" fmla="*/ 0 h 71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904" h="715902">
                  <a:moveTo>
                    <a:pt x="357951" y="0"/>
                  </a:moveTo>
                  <a:cubicBezTo>
                    <a:pt x="432085" y="0"/>
                    <a:pt x="500956" y="22537"/>
                    <a:pt x="558085" y="61132"/>
                  </a:cubicBezTo>
                  <a:lnTo>
                    <a:pt x="571904" y="72534"/>
                  </a:lnTo>
                  <a:lnTo>
                    <a:pt x="532747" y="104841"/>
                  </a:lnTo>
                  <a:cubicBezTo>
                    <a:pt x="467971" y="169618"/>
                    <a:pt x="427906" y="259106"/>
                    <a:pt x="427906" y="357951"/>
                  </a:cubicBezTo>
                  <a:cubicBezTo>
                    <a:pt x="427906" y="456797"/>
                    <a:pt x="467971" y="546284"/>
                    <a:pt x="532747" y="611061"/>
                  </a:cubicBezTo>
                  <a:lnTo>
                    <a:pt x="571904" y="643368"/>
                  </a:lnTo>
                  <a:lnTo>
                    <a:pt x="558085" y="654770"/>
                  </a:lnTo>
                  <a:cubicBezTo>
                    <a:pt x="500956" y="693366"/>
                    <a:pt x="432085" y="715902"/>
                    <a:pt x="357951" y="715902"/>
                  </a:cubicBezTo>
                  <a:cubicBezTo>
                    <a:pt x="160260" y="715902"/>
                    <a:pt x="0" y="555642"/>
                    <a:pt x="0" y="357951"/>
                  </a:cubicBezTo>
                  <a:cubicBezTo>
                    <a:pt x="0" y="160260"/>
                    <a:pt x="160260" y="0"/>
                    <a:pt x="357951" y="0"/>
                  </a:cubicBezTo>
                  <a:close/>
                </a:path>
              </a:pathLst>
            </a:cu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3349F407-26A1-F371-5EDF-6FB184C9FEA0}"/>
                </a:ext>
              </a:extLst>
            </p:cNvPr>
            <p:cNvSpPr/>
            <p:nvPr/>
          </p:nvSpPr>
          <p:spPr>
            <a:xfrm>
              <a:off x="6514628" y="2505285"/>
              <a:ext cx="287996" cy="570834"/>
            </a:xfrm>
            <a:custGeom>
              <a:avLst/>
              <a:gdLst>
                <a:gd name="connsiteX0" fmla="*/ 143998 w 287996"/>
                <a:gd name="connsiteY0" fmla="*/ 0 h 570834"/>
                <a:gd name="connsiteX1" fmla="*/ 183155 w 287996"/>
                <a:gd name="connsiteY1" fmla="*/ 32307 h 570834"/>
                <a:gd name="connsiteX2" fmla="*/ 287996 w 287996"/>
                <a:gd name="connsiteY2" fmla="*/ 285417 h 570834"/>
                <a:gd name="connsiteX3" fmla="*/ 183155 w 287996"/>
                <a:gd name="connsiteY3" fmla="*/ 538527 h 570834"/>
                <a:gd name="connsiteX4" fmla="*/ 143998 w 287996"/>
                <a:gd name="connsiteY4" fmla="*/ 570834 h 570834"/>
                <a:gd name="connsiteX5" fmla="*/ 104841 w 287996"/>
                <a:gd name="connsiteY5" fmla="*/ 538527 h 570834"/>
                <a:gd name="connsiteX6" fmla="*/ 0 w 287996"/>
                <a:gd name="connsiteY6" fmla="*/ 285417 h 570834"/>
                <a:gd name="connsiteX7" fmla="*/ 104841 w 287996"/>
                <a:gd name="connsiteY7" fmla="*/ 32307 h 570834"/>
                <a:gd name="connsiteX8" fmla="*/ 143998 w 287996"/>
                <a:gd name="connsiteY8" fmla="*/ 0 h 57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996" h="570834">
                  <a:moveTo>
                    <a:pt x="143998" y="0"/>
                  </a:moveTo>
                  <a:lnTo>
                    <a:pt x="183155" y="32307"/>
                  </a:lnTo>
                  <a:cubicBezTo>
                    <a:pt x="247931" y="97084"/>
                    <a:pt x="287996" y="186572"/>
                    <a:pt x="287996" y="285417"/>
                  </a:cubicBezTo>
                  <a:cubicBezTo>
                    <a:pt x="287996" y="384263"/>
                    <a:pt x="247931" y="473750"/>
                    <a:pt x="183155" y="538527"/>
                  </a:cubicBezTo>
                  <a:lnTo>
                    <a:pt x="143998" y="570834"/>
                  </a:lnTo>
                  <a:lnTo>
                    <a:pt x="104841" y="538527"/>
                  </a:lnTo>
                  <a:cubicBezTo>
                    <a:pt x="40065" y="473750"/>
                    <a:pt x="0" y="384263"/>
                    <a:pt x="0" y="285417"/>
                  </a:cubicBezTo>
                  <a:cubicBezTo>
                    <a:pt x="0" y="186572"/>
                    <a:pt x="40065" y="97084"/>
                    <a:pt x="104841" y="32307"/>
                  </a:cubicBezTo>
                  <a:lnTo>
                    <a:pt x="143998" y="0"/>
                  </a:lnTo>
                  <a:close/>
                </a:path>
              </a:pathLst>
            </a:custGeom>
            <a:solidFill>
              <a:schemeClr val="tx2"/>
            </a:solidFill>
            <a:ln w="3175">
              <a:solidFill>
                <a:srgbClr val="0A1D3D"/>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reeform: Shape 6">
              <a:extLst>
                <a:ext uri="{FF2B5EF4-FFF2-40B4-BE49-F238E27FC236}">
                  <a16:creationId xmlns:a16="http://schemas.microsoft.com/office/drawing/2014/main" id="{9834E39D-3C33-684F-207D-6DA1A5066368}"/>
                </a:ext>
              </a:extLst>
            </p:cNvPr>
            <p:cNvSpPr/>
            <p:nvPr/>
          </p:nvSpPr>
          <p:spPr>
            <a:xfrm>
              <a:off x="6658626" y="2432751"/>
              <a:ext cx="571904" cy="715902"/>
            </a:xfrm>
            <a:custGeom>
              <a:avLst/>
              <a:gdLst>
                <a:gd name="connsiteX0" fmla="*/ 213953 w 571904"/>
                <a:gd name="connsiteY0" fmla="*/ 0 h 715902"/>
                <a:gd name="connsiteX1" fmla="*/ 571904 w 571904"/>
                <a:gd name="connsiteY1" fmla="*/ 357951 h 715902"/>
                <a:gd name="connsiteX2" fmla="*/ 213953 w 571904"/>
                <a:gd name="connsiteY2" fmla="*/ 715902 h 715902"/>
                <a:gd name="connsiteX3" fmla="*/ 13819 w 571904"/>
                <a:gd name="connsiteY3" fmla="*/ 654770 h 715902"/>
                <a:gd name="connsiteX4" fmla="*/ 0 w 571904"/>
                <a:gd name="connsiteY4" fmla="*/ 643368 h 715902"/>
                <a:gd name="connsiteX5" fmla="*/ 39157 w 571904"/>
                <a:gd name="connsiteY5" fmla="*/ 611061 h 715902"/>
                <a:gd name="connsiteX6" fmla="*/ 143998 w 571904"/>
                <a:gd name="connsiteY6" fmla="*/ 357951 h 715902"/>
                <a:gd name="connsiteX7" fmla="*/ 39157 w 571904"/>
                <a:gd name="connsiteY7" fmla="*/ 104841 h 715902"/>
                <a:gd name="connsiteX8" fmla="*/ 0 w 571904"/>
                <a:gd name="connsiteY8" fmla="*/ 72534 h 715902"/>
                <a:gd name="connsiteX9" fmla="*/ 13819 w 571904"/>
                <a:gd name="connsiteY9" fmla="*/ 61132 h 715902"/>
                <a:gd name="connsiteX10" fmla="*/ 213953 w 571904"/>
                <a:gd name="connsiteY10" fmla="*/ 0 h 71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904" h="715902">
                  <a:moveTo>
                    <a:pt x="213953" y="0"/>
                  </a:moveTo>
                  <a:cubicBezTo>
                    <a:pt x="411644" y="0"/>
                    <a:pt x="571904" y="160260"/>
                    <a:pt x="571904" y="357951"/>
                  </a:cubicBezTo>
                  <a:cubicBezTo>
                    <a:pt x="571904" y="555642"/>
                    <a:pt x="411644" y="715902"/>
                    <a:pt x="213953" y="715902"/>
                  </a:cubicBezTo>
                  <a:cubicBezTo>
                    <a:pt x="139819" y="715902"/>
                    <a:pt x="70949" y="693366"/>
                    <a:pt x="13819" y="654770"/>
                  </a:cubicBezTo>
                  <a:lnTo>
                    <a:pt x="0" y="643368"/>
                  </a:lnTo>
                  <a:lnTo>
                    <a:pt x="39157" y="611061"/>
                  </a:lnTo>
                  <a:cubicBezTo>
                    <a:pt x="103933" y="546284"/>
                    <a:pt x="143998" y="456797"/>
                    <a:pt x="143998" y="357951"/>
                  </a:cubicBezTo>
                  <a:cubicBezTo>
                    <a:pt x="143998" y="259106"/>
                    <a:pt x="103933" y="169618"/>
                    <a:pt x="39157" y="104841"/>
                  </a:cubicBezTo>
                  <a:lnTo>
                    <a:pt x="0" y="72534"/>
                  </a:lnTo>
                  <a:lnTo>
                    <a:pt x="13819" y="61132"/>
                  </a:lnTo>
                  <a:cubicBezTo>
                    <a:pt x="70949" y="22537"/>
                    <a:pt x="139819" y="0"/>
                    <a:pt x="213953" y="0"/>
                  </a:cubicBezTo>
                  <a:close/>
                </a:path>
              </a:pathLst>
            </a:custGeom>
            <a:solidFill>
              <a:srgbClr val="F99F1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a:solidFill>
            <a:schemeClr val="accent5">
              <a:lumMod val="95000"/>
            </a:schemeClr>
          </a:solidFill>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aption</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Post</a:t>
            </a:r>
            <a:endParaRPr lang="en-BE" b="1">
              <a:solidFill>
                <a:srgbClr val="242F58"/>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Image</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Part of Day	     Season     Time Top Post</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Is Weekday</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arousel     </a:t>
            </a:r>
            <a:r>
              <a:rPr lang="en-GB" b="1">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Vividness</a:t>
            </a:r>
            <a:r>
              <a:rPr lang="en-GB" b="1" baseline="30000">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4">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chemeClr val="accent5">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pic>
        <p:nvPicPr>
          <p:cNvPr id="18" name="Graphic 17" descr="Video camera with solid fill">
            <a:extLst>
              <a:ext uri="{FF2B5EF4-FFF2-40B4-BE49-F238E27FC236}">
                <a16:creationId xmlns:a16="http://schemas.microsoft.com/office/drawing/2014/main" id="{524B72D1-7AD9-AC5F-3FF4-266603FD7F1B}"/>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224228" y="2237305"/>
            <a:ext cx="693931" cy="727367"/>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13">
              <a:extLst>
                <a:ext uri="{96DAC541-7B7A-43D3-8B79-37D633B846F1}">
                  <asvg:svgBlip xmlns:asvg="http://schemas.microsoft.com/office/drawing/2016/SVG/main" r:embed="rId47"/>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a:solidFill>
            <a:schemeClr val="accent5">
              <a:lumMod val="95000"/>
            </a:schemeClr>
          </a:solidFill>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grp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sp>
        <p:nvSpPr>
          <p:cNvPr id="29" name="TextBox 28">
            <a:extLst>
              <a:ext uri="{FF2B5EF4-FFF2-40B4-BE49-F238E27FC236}">
                <a16:creationId xmlns:a16="http://schemas.microsoft.com/office/drawing/2014/main" id="{B57C78B6-D1BD-BED3-5DD0-B95DBECB1DD5}"/>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1</a:t>
            </a:r>
            <a:r>
              <a:rPr lang="en-GB" sz="700"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26</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EB63E706-C15D-BDCB-E9BD-1980C4922B2C}"/>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Meire</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83</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7760CA32-13CE-42CF-EAEB-178AAAECD8BB}"/>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4B480FA6-8B59-580A-A0D8-3562836D2A27}"/>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grpSp>
        <p:nvGrpSpPr>
          <p:cNvPr id="43" name="Group 42">
            <a:extLst>
              <a:ext uri="{FF2B5EF4-FFF2-40B4-BE49-F238E27FC236}">
                <a16:creationId xmlns:a16="http://schemas.microsoft.com/office/drawing/2014/main" id="{0AE45EDC-1F58-85E2-A655-718009C3A97F}"/>
              </a:ext>
            </a:extLst>
          </p:cNvPr>
          <p:cNvGrpSpPr/>
          <p:nvPr/>
        </p:nvGrpSpPr>
        <p:grpSpPr>
          <a:xfrm>
            <a:off x="8407295" y="-20424"/>
            <a:ext cx="871964" cy="568268"/>
            <a:chOff x="8285465" y="87566"/>
            <a:chExt cx="871964" cy="568268"/>
          </a:xfrm>
        </p:grpSpPr>
        <p:sp>
          <p:nvSpPr>
            <p:cNvPr id="48" name="Google Shape;3967;p40">
              <a:extLst>
                <a:ext uri="{FF2B5EF4-FFF2-40B4-BE49-F238E27FC236}">
                  <a16:creationId xmlns:a16="http://schemas.microsoft.com/office/drawing/2014/main" id="{EB17584D-B9D8-6A83-6BD3-D3AD4100672B}"/>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51" name="Graphic 50">
              <a:extLst>
                <a:ext uri="{FF2B5EF4-FFF2-40B4-BE49-F238E27FC236}">
                  <a16:creationId xmlns:a16="http://schemas.microsoft.com/office/drawing/2014/main" id="{90F072C6-3F77-9BA8-B25B-41B51063785C}"/>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1174802042"/>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aption</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Pos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latin typeface="Calibri" panose="020F0502020204030204" pitchFamily="34" charset="0"/>
                <a:ea typeface="Calibri" panose="020F0502020204030204" pitchFamily="34" charset="0"/>
                <a:cs typeface="Calibri" panose="020F0502020204030204" pitchFamily="34" charset="0"/>
              </a:rPr>
              <a:t>Image</a:t>
            </a:r>
            <a:endParaRPr lang="en-BE" b="1">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43" name="TextBox 42">
            <a:extLst>
              <a:ext uri="{FF2B5EF4-FFF2-40B4-BE49-F238E27FC236}">
                <a16:creationId xmlns:a16="http://schemas.microsoft.com/office/drawing/2014/main" id="{A35A73EC-BE33-C20F-EAAB-4EE7E225EC0C}"/>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rgbClr val="0F1A42"/>
                </a:solidFill>
                <a:effectLst/>
                <a:latin typeface="Calibri" panose="020F0502020204030204" pitchFamily="34" charset="0"/>
                <a:ea typeface="Calibri" panose="020F0502020204030204" pitchFamily="34" charset="0"/>
                <a:cs typeface="Calibri" panose="020F0502020204030204" pitchFamily="34" charset="0"/>
              </a:rPr>
              <a:t>1</a:t>
            </a:r>
            <a:r>
              <a:rPr lang="en-GB" sz="700" b="0" i="0" baseline="30000">
                <a:solidFill>
                  <a:srgbClr val="0F1A42"/>
                </a:solidFill>
                <a:effectLst/>
                <a:latin typeface="Calibri" panose="020F0502020204030204" pitchFamily="34" charset="0"/>
                <a:ea typeface="Calibri" panose="020F0502020204030204" pitchFamily="34" charset="0"/>
                <a:cs typeface="Calibri" panose="020F0502020204030204" pitchFamily="34" charset="0"/>
              </a:rPr>
              <a:t> </a:t>
            </a:r>
            <a:r>
              <a:rPr lang="en-GB" sz="700" b="0" i="0">
                <a:solidFill>
                  <a:srgbClr val="0F1A42"/>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b="0" i="0" err="1">
                <a:solidFill>
                  <a:srgbClr val="0F1A42"/>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b="0" i="0">
                <a:solidFill>
                  <a:srgbClr val="0F1A42"/>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b="0" i="1">
                <a:solidFill>
                  <a:srgbClr val="0F1A42"/>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b="0" i="0">
                <a:solidFill>
                  <a:srgbClr val="0F1A42"/>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rgbClr val="0F1A42"/>
                </a:solidFill>
                <a:effectLst/>
                <a:latin typeface="Calibri" panose="020F0502020204030204" pitchFamily="34" charset="0"/>
                <a:ea typeface="Calibri" panose="020F0502020204030204" pitchFamily="34" charset="0"/>
                <a:cs typeface="Calibri" panose="020F0502020204030204" pitchFamily="34" charset="0"/>
              </a:rPr>
              <a:t>26</a:t>
            </a:r>
            <a:r>
              <a:rPr lang="en-GB" sz="700" b="0" i="0">
                <a:solidFill>
                  <a:srgbClr val="0F1A42"/>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rgbClr val="0F1A42"/>
              </a:solidFill>
              <a:latin typeface="Calibri" panose="020F0502020204030204" pitchFamily="34" charset="0"/>
              <a:ea typeface="Calibri" panose="020F0502020204030204" pitchFamily="34" charset="0"/>
              <a:cs typeface="Calibri" panose="020F0502020204030204" pitchFamily="34" charset="0"/>
            </a:endParaRPr>
          </a:p>
        </p:txBody>
      </p:sp>
      <p:sp>
        <p:nvSpPr>
          <p:cNvPr id="48" name="TextBox 47">
            <a:extLst>
              <a:ext uri="{FF2B5EF4-FFF2-40B4-BE49-F238E27FC236}">
                <a16:creationId xmlns:a16="http://schemas.microsoft.com/office/drawing/2014/main" id="{6A923557-131D-CD14-97BE-657D1178CBA4}"/>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Meire</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83</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C9074260-BD6B-C356-B7ED-1BA68C8F1F5E}"/>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6"/>
                </a:solidFill>
                <a:effectLst/>
                <a:latin typeface="Calibri" panose="020F0502020204030204" pitchFamily="34" charset="0"/>
                <a:ea typeface="Calibri" panose="020F0502020204030204" pitchFamily="34" charset="0"/>
                <a:cs typeface="Calibri" panose="020F0502020204030204" pitchFamily="34" charset="0"/>
              </a:rPr>
              <a:t>4 </a:t>
            </a:r>
            <a:r>
              <a:rPr lang="en-GB" sz="700" i="0" err="1">
                <a:solidFill>
                  <a:schemeClr val="accent6"/>
                </a:solidFill>
                <a:effectLst/>
                <a:latin typeface="Calibri" panose="020F0502020204030204" pitchFamily="34" charset="0"/>
                <a:ea typeface="Calibri" panose="020F0502020204030204" pitchFamily="34" charset="0"/>
                <a:cs typeface="Calibri" panose="020F0502020204030204" pitchFamily="34" charset="0"/>
              </a:rPr>
              <a:t>Öhman</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i="1">
                <a:solidFill>
                  <a:schemeClr val="accent6"/>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i="0">
                <a:solidFill>
                  <a:schemeClr val="accent6"/>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546E2ED1-B861-3A77-C787-9143E3DCCEA7}"/>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Part of Day	     Season     Time Top Post</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Is Weekday</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Carousel     Vividness</a:t>
            </a:r>
            <a:r>
              <a:rPr lang="en-GB" b="1" baseline="30000">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Tahoma" panose="020B060403050404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rgbClr val="242F58"/>
                </a:solidFill>
                <a:latin typeface="Calibri" panose="020F0502020204030204" pitchFamily="34" charset="0"/>
                <a:ea typeface="Calibri" panose="020F0502020204030204" pitchFamily="34" charset="0"/>
                <a:cs typeface="Calibri" panose="020F0502020204030204" pitchFamily="34" charset="0"/>
              </a:rPr>
              <a:t>4</a:t>
            </a:r>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	        Colourfulness</a:t>
            </a:r>
            <a:r>
              <a:rPr lang="en-GB" b="1" baseline="30000">
                <a:solidFill>
                  <a:srgbClr val="0A1D3D"/>
                </a:solidFill>
                <a:latin typeface="Calibri" panose="020F0502020204030204" pitchFamily="34" charset="0"/>
                <a:ea typeface="Calibri" panose="020F0502020204030204" pitchFamily="34" charset="0"/>
                <a:cs typeface="Calibri" panose="020F0502020204030204" pitchFamily="34" charset="0"/>
              </a:rPr>
              <a:t>1</a:t>
            </a:r>
            <a:r>
              <a:rPr lang="en-GB" b="1">
                <a:solidFill>
                  <a:srgbClr val="0A1D3D"/>
                </a:solidFill>
                <a:latin typeface="Calibri" panose="020F0502020204030204" pitchFamily="34" charset="0"/>
                <a:ea typeface="Calibri" panose="020F0502020204030204" pitchFamily="34" charset="0"/>
                <a:cs typeface="Calibri" panose="020F0502020204030204" pitchFamily="34" charset="0"/>
              </a:rPr>
              <a:t>  </a:t>
            </a:r>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rgbClr val="242F58"/>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rgbClr val="242F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a:solidFill>
            <a:schemeClr val="accent5">
              <a:lumMod val="95000"/>
            </a:schemeClr>
          </a:solidFill>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76999"/>
            </a:xfrm>
            <a:prstGeom prst="rect">
              <a:avLst/>
            </a:prstGeom>
            <a:noFill/>
          </p:spPr>
          <p:txBody>
            <a:bodyPr wrap="square" rtlCol="0">
              <a:spAutoFit/>
            </a:bodyPr>
            <a:lstStyle/>
            <a:p>
              <a:r>
                <a:rPr lang="en-GB" sz="1200" b="1">
                  <a:solidFill>
                    <a:srgbClr val="242F58"/>
                  </a:solidFill>
                </a:rPr>
                <a:t>ABC</a:t>
              </a:r>
              <a:endParaRPr lang="en-BE" sz="1200" b="1">
                <a:solidFill>
                  <a:srgbClr val="242F58"/>
                </a:solidFill>
              </a:endParaRPr>
            </a:p>
          </p:txBody>
        </p:sp>
      </p:grpSp>
      <p:pic>
        <p:nvPicPr>
          <p:cNvPr id="29" name="Graphic 28" descr="Video camera with solid fill">
            <a:extLst>
              <a:ext uri="{FF2B5EF4-FFF2-40B4-BE49-F238E27FC236}">
                <a16:creationId xmlns:a16="http://schemas.microsoft.com/office/drawing/2014/main" id="{1A8118D3-C7DF-CFD6-FDBB-B2FCB4014C77}"/>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8224228" y="2237305"/>
            <a:ext cx="693931" cy="727367"/>
          </a:xfrm>
          <a:prstGeom prst="rect">
            <a:avLst/>
          </a:prstGeom>
        </p:spPr>
      </p:pic>
      <p:grpSp>
        <p:nvGrpSpPr>
          <p:cNvPr id="10" name="Group 9">
            <a:extLst>
              <a:ext uri="{FF2B5EF4-FFF2-40B4-BE49-F238E27FC236}">
                <a16:creationId xmlns:a16="http://schemas.microsoft.com/office/drawing/2014/main" id="{CCD3C1D1-D43B-F7DB-BA5C-73236855DA45}"/>
              </a:ext>
            </a:extLst>
          </p:cNvPr>
          <p:cNvGrpSpPr/>
          <p:nvPr/>
        </p:nvGrpSpPr>
        <p:grpSpPr>
          <a:xfrm>
            <a:off x="8407295" y="-20424"/>
            <a:ext cx="871964" cy="568268"/>
            <a:chOff x="8285465" y="87566"/>
            <a:chExt cx="871964" cy="568268"/>
          </a:xfrm>
        </p:grpSpPr>
        <p:sp>
          <p:nvSpPr>
            <p:cNvPr id="11" name="Google Shape;3967;p40">
              <a:extLst>
                <a:ext uri="{FF2B5EF4-FFF2-40B4-BE49-F238E27FC236}">
                  <a16:creationId xmlns:a16="http://schemas.microsoft.com/office/drawing/2014/main" id="{5059A386-6240-95D4-794B-4B9D94D4D13D}"/>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16" name="Graphic 15">
              <a:extLst>
                <a:ext uri="{FF2B5EF4-FFF2-40B4-BE49-F238E27FC236}">
                  <a16:creationId xmlns:a16="http://schemas.microsoft.com/office/drawing/2014/main" id="{89CCEB7D-496C-B434-FA60-2EFB965FC4AF}"/>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1626241923"/>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08DEF-B224-7468-DDA7-E90056E6EBE9}"/>
              </a:ext>
            </a:extLst>
          </p:cNvPr>
          <p:cNvSpPr>
            <a:spLocks noGrp="1"/>
          </p:cNvSpPr>
          <p:nvPr>
            <p:ph type="title"/>
          </p:nvPr>
        </p:nvSpPr>
        <p:spPr/>
        <p:txBody>
          <a:bodyPr/>
          <a:lstStyle/>
          <a:p>
            <a:r>
              <a:rPr lang="nl-NL" err="1"/>
              <a:t>Potential</a:t>
            </a:r>
            <a:r>
              <a:rPr lang="nl-NL"/>
              <a:t> drivers</a:t>
            </a:r>
            <a:endParaRPr lang="nl-BE"/>
          </a:p>
        </p:txBody>
      </p:sp>
      <p:sp>
        <p:nvSpPr>
          <p:cNvPr id="6" name="Rectangle 5">
            <a:extLst>
              <a:ext uri="{FF2B5EF4-FFF2-40B4-BE49-F238E27FC236}">
                <a16:creationId xmlns:a16="http://schemas.microsoft.com/office/drawing/2014/main" id="{23984AA8-3C07-2E10-A17A-B47487AA3C55}"/>
              </a:ext>
            </a:extLst>
          </p:cNvPr>
          <p:cNvSpPr/>
          <p:nvPr/>
        </p:nvSpPr>
        <p:spPr>
          <a:xfrm>
            <a:off x="1159042" y="1050887"/>
            <a:ext cx="7863338" cy="971604"/>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8" name="Rectangle 7">
            <a:extLst>
              <a:ext uri="{FF2B5EF4-FFF2-40B4-BE49-F238E27FC236}">
                <a16:creationId xmlns:a16="http://schemas.microsoft.com/office/drawing/2014/main" id="{8587E026-7B7B-4453-92AC-666DA79371B2}"/>
              </a:ext>
            </a:extLst>
          </p:cNvPr>
          <p:cNvSpPr/>
          <p:nvPr/>
        </p:nvSpPr>
        <p:spPr>
          <a:xfrm>
            <a:off x="1159042" y="2161489"/>
            <a:ext cx="7863338" cy="994186"/>
          </a:xfrm>
          <a:prstGeom prst="rect">
            <a:avLst/>
          </a:prstGeom>
          <a:noFill/>
          <a:ln>
            <a:solidFill>
              <a:schemeClr val="accent5">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sp>
        <p:nvSpPr>
          <p:cNvPr id="9" name="Rectangle 8">
            <a:extLst>
              <a:ext uri="{FF2B5EF4-FFF2-40B4-BE49-F238E27FC236}">
                <a16:creationId xmlns:a16="http://schemas.microsoft.com/office/drawing/2014/main" id="{91B5A8DE-D88E-4942-5ABE-C3FC888F1588}"/>
              </a:ext>
            </a:extLst>
          </p:cNvPr>
          <p:cNvSpPr/>
          <p:nvPr/>
        </p:nvSpPr>
        <p:spPr>
          <a:xfrm>
            <a:off x="1159042" y="3294673"/>
            <a:ext cx="7863338" cy="994186"/>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5">
                  <a:lumMod val="95000"/>
                </a:schemeClr>
              </a:solidFill>
            </a:endParaRPr>
          </a:p>
        </p:txBody>
      </p:sp>
      <p:pic>
        <p:nvPicPr>
          <p:cNvPr id="34" name="Graphic 33" descr="Watch with solid fill">
            <a:extLst>
              <a:ext uri="{FF2B5EF4-FFF2-40B4-BE49-F238E27FC236}">
                <a16:creationId xmlns:a16="http://schemas.microsoft.com/office/drawing/2014/main" id="{D14977E0-F328-93D5-E476-11195C71CE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11105" y="2304139"/>
            <a:ext cx="569879" cy="569879"/>
          </a:xfrm>
          <a:prstGeom prst="rect">
            <a:avLst/>
          </a:prstGeom>
        </p:spPr>
      </p:pic>
      <p:pic>
        <p:nvPicPr>
          <p:cNvPr id="36" name="Graphic 35" descr="Snowman with solid fill">
            <a:extLst>
              <a:ext uri="{FF2B5EF4-FFF2-40B4-BE49-F238E27FC236}">
                <a16:creationId xmlns:a16="http://schemas.microsoft.com/office/drawing/2014/main" id="{6886BF54-E34E-B369-6E57-DC9A91EAA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9539" y="2195461"/>
            <a:ext cx="718090" cy="718090"/>
          </a:xfrm>
          <a:prstGeom prst="rect">
            <a:avLst/>
          </a:prstGeom>
        </p:spPr>
      </p:pic>
      <p:pic>
        <p:nvPicPr>
          <p:cNvPr id="38" name="Graphic 37" descr="Marker with solid fill">
            <a:extLst>
              <a:ext uri="{FF2B5EF4-FFF2-40B4-BE49-F238E27FC236}">
                <a16:creationId xmlns:a16="http://schemas.microsoft.com/office/drawing/2014/main" id="{F94ABC8D-5276-D617-D989-C00D99BD4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1029" y="2172261"/>
            <a:ext cx="787149" cy="787149"/>
          </a:xfrm>
          <a:prstGeom prst="rect">
            <a:avLst/>
          </a:prstGeom>
        </p:spPr>
      </p:pic>
      <p:pic>
        <p:nvPicPr>
          <p:cNvPr id="40" name="Graphic 39" descr="Airplane with solid fill">
            <a:extLst>
              <a:ext uri="{FF2B5EF4-FFF2-40B4-BE49-F238E27FC236}">
                <a16:creationId xmlns:a16="http://schemas.microsoft.com/office/drawing/2014/main" id="{3E50399B-BC09-888F-FBF2-A7B0028F9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45060" y="3391567"/>
            <a:ext cx="679622" cy="679622"/>
          </a:xfrm>
          <a:prstGeom prst="rect">
            <a:avLst/>
          </a:prstGeom>
        </p:spPr>
      </p:pic>
      <p:grpSp>
        <p:nvGrpSpPr>
          <p:cNvPr id="55" name="Group 54">
            <a:extLst>
              <a:ext uri="{FF2B5EF4-FFF2-40B4-BE49-F238E27FC236}">
                <a16:creationId xmlns:a16="http://schemas.microsoft.com/office/drawing/2014/main" id="{DE11FE4A-4DCA-1DC3-431C-962DA0B4DA8F}"/>
              </a:ext>
            </a:extLst>
          </p:cNvPr>
          <p:cNvGrpSpPr/>
          <p:nvPr/>
        </p:nvGrpSpPr>
        <p:grpSpPr>
          <a:xfrm>
            <a:off x="4922321" y="3355907"/>
            <a:ext cx="731086" cy="718090"/>
            <a:chOff x="4571999" y="3251637"/>
            <a:chExt cx="914400" cy="914400"/>
          </a:xfrm>
          <a:solidFill>
            <a:schemeClr val="accent5">
              <a:lumMod val="95000"/>
            </a:schemeClr>
          </a:solidFill>
        </p:grpSpPr>
        <p:pic>
          <p:nvPicPr>
            <p:cNvPr id="42" name="Graphic 41" descr="Magnifying glass with solid fill">
              <a:extLst>
                <a:ext uri="{FF2B5EF4-FFF2-40B4-BE49-F238E27FC236}">
                  <a16:creationId xmlns:a16="http://schemas.microsoft.com/office/drawing/2014/main" id="{8EF07D8A-726B-FCAB-CCA1-3787D54827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71999" y="3251637"/>
              <a:ext cx="914400" cy="914400"/>
            </a:xfrm>
            <a:prstGeom prst="rect">
              <a:avLst/>
            </a:prstGeom>
          </p:spPr>
        </p:pic>
        <p:pic>
          <p:nvPicPr>
            <p:cNvPr id="44" name="Graphic 43" descr="Smiling face with solid fill with solid fill">
              <a:extLst>
                <a:ext uri="{FF2B5EF4-FFF2-40B4-BE49-F238E27FC236}">
                  <a16:creationId xmlns:a16="http://schemas.microsoft.com/office/drawing/2014/main" id="{9859BBCE-08D1-B515-C687-0734CE2D3B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00985" y="3382829"/>
              <a:ext cx="468462" cy="468462"/>
            </a:xfrm>
            <a:prstGeom prst="rect">
              <a:avLst/>
            </a:prstGeom>
          </p:spPr>
        </p:pic>
      </p:grpSp>
      <p:pic>
        <p:nvPicPr>
          <p:cNvPr id="45" name="Picture 7" descr="A logo on a black background&#10;&#10;Description automatically generated">
            <a:extLst>
              <a:ext uri="{FF2B5EF4-FFF2-40B4-BE49-F238E27FC236}">
                <a16:creationId xmlns:a16="http://schemas.microsoft.com/office/drawing/2014/main" id="{5EB10866-8EBB-86C4-1B6A-6BAC505424D1}"/>
              </a:ext>
            </a:extLst>
          </p:cNvPr>
          <p:cNvPicPr>
            <a:picLocks noChangeAspect="1"/>
          </p:cNvPicPr>
          <p:nvPr/>
        </p:nvPicPr>
        <p:blipFill rotWithShape="1">
          <a:blip r:embed="rId15">
            <a:duotone>
              <a:schemeClr val="accent5">
                <a:shade val="45000"/>
                <a:satMod val="135000"/>
              </a:schemeClr>
              <a:prstClr val="white"/>
            </a:duotone>
          </a:blip>
          <a:srcRect l="10596" t="38994" r="10322" b="39251"/>
          <a:stretch/>
        </p:blipFill>
        <p:spPr>
          <a:xfrm>
            <a:off x="3102179" y="3798694"/>
            <a:ext cx="1283516" cy="235386"/>
          </a:xfrm>
          <a:prstGeom prst="rect">
            <a:avLst/>
          </a:prstGeom>
        </p:spPr>
      </p:pic>
      <p:pic>
        <p:nvPicPr>
          <p:cNvPr id="46" name="Picture 6" descr="A logo with blue and yellow stripes&#10;&#10;Description automatically generated">
            <a:extLst>
              <a:ext uri="{FF2B5EF4-FFF2-40B4-BE49-F238E27FC236}">
                <a16:creationId xmlns:a16="http://schemas.microsoft.com/office/drawing/2014/main" id="{B8056CF7-141E-2E99-A534-3D0EB8F1F1F5}"/>
              </a:ext>
            </a:extLst>
          </p:cNvPr>
          <p:cNvPicPr>
            <a:picLocks noChangeAspect="1"/>
          </p:cNvPicPr>
          <p:nvPr/>
        </p:nvPicPr>
        <p:blipFill rotWithShape="1">
          <a:blip r:embed="rId16">
            <a:duotone>
              <a:schemeClr val="accent5">
                <a:shade val="45000"/>
                <a:satMod val="135000"/>
              </a:schemeClr>
              <a:prstClr val="white"/>
            </a:duotone>
          </a:blip>
          <a:srcRect t="15551" b="16865"/>
          <a:stretch/>
        </p:blipFill>
        <p:spPr>
          <a:xfrm>
            <a:off x="3503685" y="3385024"/>
            <a:ext cx="986865" cy="419540"/>
          </a:xfrm>
          <a:prstGeom prst="rect">
            <a:avLst/>
          </a:prstGeom>
        </p:spPr>
      </p:pic>
      <p:grpSp>
        <p:nvGrpSpPr>
          <p:cNvPr id="53" name="Group 52">
            <a:extLst>
              <a:ext uri="{FF2B5EF4-FFF2-40B4-BE49-F238E27FC236}">
                <a16:creationId xmlns:a16="http://schemas.microsoft.com/office/drawing/2014/main" id="{04E3EB01-01C7-07A0-5CB1-E38E720CF9D8}"/>
              </a:ext>
            </a:extLst>
          </p:cNvPr>
          <p:cNvGrpSpPr/>
          <p:nvPr/>
        </p:nvGrpSpPr>
        <p:grpSpPr>
          <a:xfrm>
            <a:off x="125185" y="2198231"/>
            <a:ext cx="821686" cy="781696"/>
            <a:chOff x="106511" y="2159077"/>
            <a:chExt cx="914400" cy="914400"/>
          </a:xfrm>
          <a:solidFill>
            <a:schemeClr val="accent5">
              <a:lumMod val="95000"/>
            </a:schemeClr>
          </a:solidFill>
        </p:grpSpPr>
        <p:pic>
          <p:nvPicPr>
            <p:cNvPr id="50" name="Graphic 49" descr="Smart Phone with solid fill">
              <a:extLst>
                <a:ext uri="{FF2B5EF4-FFF2-40B4-BE49-F238E27FC236}">
                  <a16:creationId xmlns:a16="http://schemas.microsoft.com/office/drawing/2014/main" id="{A61F1DE7-41A4-93D9-ED25-9275CC97094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511" y="2159077"/>
              <a:ext cx="914400" cy="914400"/>
            </a:xfrm>
            <a:prstGeom prst="rect">
              <a:avLst/>
            </a:prstGeom>
          </p:spPr>
        </p:pic>
        <p:pic>
          <p:nvPicPr>
            <p:cNvPr id="52" name="Graphic 51" descr="Polaroid Pictures with solid fill">
              <a:extLst>
                <a:ext uri="{FF2B5EF4-FFF2-40B4-BE49-F238E27FC236}">
                  <a16:creationId xmlns:a16="http://schemas.microsoft.com/office/drawing/2014/main" id="{C95BE960-0D33-2ABE-020B-2820641620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56488" y="2411590"/>
              <a:ext cx="410741" cy="410741"/>
            </a:xfrm>
            <a:prstGeom prst="rect">
              <a:avLst/>
            </a:prstGeom>
          </p:spPr>
        </p:pic>
      </p:grpSp>
      <p:pic>
        <p:nvPicPr>
          <p:cNvPr id="58" name="Graphic 57" descr="Triangle Ruler with solid fill">
            <a:extLst>
              <a:ext uri="{FF2B5EF4-FFF2-40B4-BE49-F238E27FC236}">
                <a16:creationId xmlns:a16="http://schemas.microsoft.com/office/drawing/2014/main" id="{252F94EB-8895-2F75-7091-E8C2D109C07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3886" y="2230129"/>
            <a:ext cx="654388" cy="654388"/>
          </a:xfrm>
          <a:prstGeom prst="rect">
            <a:avLst/>
          </a:prstGeom>
        </p:spPr>
      </p:pic>
      <p:pic>
        <p:nvPicPr>
          <p:cNvPr id="60" name="Graphic 59" descr="Bank check with solid fill">
            <a:extLst>
              <a:ext uri="{FF2B5EF4-FFF2-40B4-BE49-F238E27FC236}">
                <a16:creationId xmlns:a16="http://schemas.microsoft.com/office/drawing/2014/main" id="{C3EB0032-C570-08A1-E699-DA0846F8B57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6541" y="1061896"/>
            <a:ext cx="914400" cy="914400"/>
          </a:xfrm>
          <a:prstGeom prst="rect">
            <a:avLst/>
          </a:prstGeom>
        </p:spPr>
      </p:pic>
      <p:pic>
        <p:nvPicPr>
          <p:cNvPr id="61" name="Graphic 60" descr="Images with solid fill">
            <a:extLst>
              <a:ext uri="{FF2B5EF4-FFF2-40B4-BE49-F238E27FC236}">
                <a16:creationId xmlns:a16="http://schemas.microsoft.com/office/drawing/2014/main" id="{D5E59F95-9B75-9FAE-C7FD-54FF5294954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45516" y="2237305"/>
            <a:ext cx="691967" cy="691967"/>
          </a:xfrm>
          <a:prstGeom prst="rect">
            <a:avLst/>
          </a:prstGeom>
        </p:spPr>
      </p:pic>
      <p:pic>
        <p:nvPicPr>
          <p:cNvPr id="63" name="Graphic 62" descr="Image with solid fill">
            <a:extLst>
              <a:ext uri="{FF2B5EF4-FFF2-40B4-BE49-F238E27FC236}">
                <a16:creationId xmlns:a16="http://schemas.microsoft.com/office/drawing/2014/main" id="{FC9A70B6-8D89-8393-65D7-60945C309E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57396" y="3354664"/>
            <a:ext cx="810801" cy="810801"/>
          </a:xfrm>
          <a:prstGeom prst="rect">
            <a:avLst/>
          </a:prstGeom>
        </p:spPr>
      </p:pic>
      <p:sp>
        <p:nvSpPr>
          <p:cNvPr id="3" name="TextBox 2">
            <a:extLst>
              <a:ext uri="{FF2B5EF4-FFF2-40B4-BE49-F238E27FC236}">
                <a16:creationId xmlns:a16="http://schemas.microsoft.com/office/drawing/2014/main" id="{8784C435-9D30-8E0B-9816-55B19E9E9085}"/>
              </a:ext>
            </a:extLst>
          </p:cNvPr>
          <p:cNvSpPr txBox="1"/>
          <p:nvPr/>
        </p:nvSpPr>
        <p:spPr>
          <a:xfrm>
            <a:off x="1105923" y="1671296"/>
            <a:ext cx="8191697" cy="276999"/>
          </a:xfrm>
          <a:prstGeom prst="rect">
            <a:avLst/>
          </a:prstGeom>
          <a:noFill/>
          <a:ln>
            <a:noFill/>
          </a:ln>
        </p:spPr>
        <p:txBody>
          <a:bodyPr wrap="square" rtlCol="0">
            <a:spAutoFit/>
          </a:bodyPr>
          <a:lstStyle/>
          <a:p>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ontains City   Nr. @   Nr. ‘#’    Nr. ‘?’</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Nr. ‘!’   Contains Link</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entiment</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Words</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Tag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Subjectivity</a:t>
            </a:r>
            <a:r>
              <a:rPr lang="en-GB" sz="12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sz="1200" b="1" err="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Nr.Emojis</a:t>
            </a:r>
            <a:r>
              <a:rPr lang="en-GB"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sz="1200"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CF6E667-E182-F83A-D4CB-64BD30D67110}"/>
              </a:ext>
            </a:extLst>
          </p:cNvPr>
          <p:cNvSpPr txBox="1"/>
          <p:nvPr/>
        </p:nvSpPr>
        <p:spPr>
          <a:xfrm>
            <a:off x="191523" y="1648081"/>
            <a:ext cx="763351"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Caption</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804F834-8CEC-C2CA-3A01-CA0B81DF19DC}"/>
              </a:ext>
            </a:extLst>
          </p:cNvPr>
          <p:cNvSpPr txBox="1"/>
          <p:nvPr/>
        </p:nvSpPr>
        <p:spPr>
          <a:xfrm>
            <a:off x="278523" y="2894085"/>
            <a:ext cx="511679" cy="307777"/>
          </a:xfrm>
          <a:prstGeom prst="rect">
            <a:avLst/>
          </a:prstGeom>
          <a:noFill/>
        </p:spPr>
        <p:txBody>
          <a:bodyPr wrap="non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Pos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0308C226-3A7F-B379-9D7B-7548FBB502B6}"/>
              </a:ext>
            </a:extLst>
          </p:cNvPr>
          <p:cNvSpPr txBox="1"/>
          <p:nvPr/>
        </p:nvSpPr>
        <p:spPr>
          <a:xfrm>
            <a:off x="241607" y="3981082"/>
            <a:ext cx="641522" cy="307777"/>
          </a:xfrm>
          <a:prstGeom prst="rect">
            <a:avLst/>
          </a:prstGeom>
          <a:noFill/>
        </p:spPr>
        <p:txBody>
          <a:bodyPr wrap="none" rtlCol="0">
            <a:spAutoFit/>
          </a:bodyPr>
          <a:lstStyle/>
          <a:p>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Image</a:t>
            </a:r>
            <a:endParaRPr lang="en-BE" b="1">
              <a:solidFill>
                <a:srgbClr val="242F58"/>
              </a:solidFill>
              <a:latin typeface="Calibri" panose="020F0502020204030204" pitchFamily="34" charset="0"/>
              <a:ea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CF1EE2E3-04B2-A456-4677-884A2783B0EE}"/>
              </a:ext>
            </a:extLst>
          </p:cNvPr>
          <p:cNvGrpSpPr/>
          <p:nvPr/>
        </p:nvGrpSpPr>
        <p:grpSpPr>
          <a:xfrm>
            <a:off x="3086337" y="2207805"/>
            <a:ext cx="789617" cy="718090"/>
            <a:chOff x="3116185" y="2223565"/>
            <a:chExt cx="789617" cy="718090"/>
          </a:xfrm>
          <a:solidFill>
            <a:schemeClr val="accent5">
              <a:lumMod val="95000"/>
            </a:schemeClr>
          </a:solidFill>
        </p:grpSpPr>
        <p:pic>
          <p:nvPicPr>
            <p:cNvPr id="23" name="Graphic 22" descr="Badge 1 with solid fill">
              <a:extLst>
                <a:ext uri="{FF2B5EF4-FFF2-40B4-BE49-F238E27FC236}">
                  <a16:creationId xmlns:a16="http://schemas.microsoft.com/office/drawing/2014/main" id="{453572DC-D497-74A0-01A5-B5AC5612E0E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116185" y="2249688"/>
              <a:ext cx="376907" cy="376907"/>
            </a:xfrm>
            <a:prstGeom prst="rect">
              <a:avLst/>
            </a:prstGeom>
          </p:spPr>
        </p:pic>
        <p:pic>
          <p:nvPicPr>
            <p:cNvPr id="27" name="Graphic 26" descr="Stopwatch 50% outline">
              <a:extLst>
                <a:ext uri="{FF2B5EF4-FFF2-40B4-BE49-F238E27FC236}">
                  <a16:creationId xmlns:a16="http://schemas.microsoft.com/office/drawing/2014/main" id="{2C2E3637-ED8D-9716-96A1-97F95A07707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187712" y="2223565"/>
              <a:ext cx="718090" cy="718090"/>
            </a:xfrm>
            <a:prstGeom prst="rect">
              <a:avLst/>
            </a:prstGeom>
          </p:spPr>
        </p:pic>
      </p:grpSp>
      <p:pic>
        <p:nvPicPr>
          <p:cNvPr id="35" name="Graphic 34" descr="Daily calendar with solid fill">
            <a:extLst>
              <a:ext uri="{FF2B5EF4-FFF2-40B4-BE49-F238E27FC236}">
                <a16:creationId xmlns:a16="http://schemas.microsoft.com/office/drawing/2014/main" id="{40D9356E-D526-7F02-AA18-B825BCCBC34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266133" y="2168546"/>
            <a:ext cx="787148" cy="787148"/>
          </a:xfrm>
          <a:prstGeom prst="rect">
            <a:avLst/>
          </a:prstGeom>
        </p:spPr>
      </p:pic>
      <p:sp>
        <p:nvSpPr>
          <p:cNvPr id="12" name="TextBox 11">
            <a:extLst>
              <a:ext uri="{FF2B5EF4-FFF2-40B4-BE49-F238E27FC236}">
                <a16:creationId xmlns:a16="http://schemas.microsoft.com/office/drawing/2014/main" id="{3B763D80-2BA6-DC66-7BC5-6A5776F20CB6}"/>
              </a:ext>
            </a:extLst>
          </p:cNvPr>
          <p:cNvSpPr txBox="1"/>
          <p:nvPr/>
        </p:nvSpPr>
        <p:spPr>
          <a:xfrm>
            <a:off x="1050920" y="2852070"/>
            <a:ext cx="8246699"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Part of Day	     Season     Time Top Post</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Is Weekday</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Location    Aspect Ratio</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3</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arousel     Vividnes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CB435D3-CDA7-F573-2D49-03C85CFA4810}"/>
              </a:ext>
            </a:extLst>
          </p:cNvPr>
          <p:cNvSpPr txBox="1"/>
          <p:nvPr/>
        </p:nvSpPr>
        <p:spPr>
          <a:xfrm>
            <a:off x="1172048" y="4005047"/>
            <a:ext cx="7814556" cy="307777"/>
          </a:xfrm>
          <a:prstGeom prst="rect">
            <a:avLst/>
          </a:prstGeom>
          <a:noFill/>
          <a:ln>
            <a:noFill/>
          </a:ln>
        </p:spPr>
        <p:txBody>
          <a:bodyPr wrap="square" rtlCol="0">
            <a:spAutoFit/>
          </a:bodyPr>
          <a:lstStyle/>
          <a:p>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Airplane	     Contains Logo	  Nr. Faces</a:t>
            </a:r>
            <a:r>
              <a:rPr lang="en-GB"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4</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a:t>
            </a:r>
            <a:r>
              <a:rPr lang="en-GB" b="1">
                <a:solidFill>
                  <a:srgbClr val="242F58"/>
                </a:solidFill>
                <a:latin typeface="Calibri" panose="020F0502020204030204" pitchFamily="34" charset="0"/>
                <a:ea typeface="Calibri" panose="020F0502020204030204" pitchFamily="34" charset="0"/>
                <a:cs typeface="Calibri" panose="020F0502020204030204" pitchFamily="34" charset="0"/>
              </a:rPr>
              <a:t>Colourfulness</a:t>
            </a:r>
            <a:r>
              <a:rPr lang="en-GB" b="1" baseline="30000">
                <a:solidFill>
                  <a:srgbClr val="242F58"/>
                </a:solidFill>
                <a:latin typeface="Calibri" panose="020F0502020204030204" pitchFamily="34" charset="0"/>
                <a:ea typeface="Calibri" panose="020F0502020204030204" pitchFamily="34" charset="0"/>
                <a:cs typeface="Calibri" panose="020F0502020204030204" pitchFamily="34" charset="0"/>
              </a:rPr>
              <a:t>1</a:t>
            </a:r>
            <a:r>
              <a:rPr lang="en-GB"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             Contains Text</a:t>
            </a:r>
            <a:endParaRPr lang="en-BE" b="1">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21" name="Graphic 20" descr="Palette with solid fill">
            <a:extLst>
              <a:ext uri="{FF2B5EF4-FFF2-40B4-BE49-F238E27FC236}">
                <a16:creationId xmlns:a16="http://schemas.microsoft.com/office/drawing/2014/main" id="{4F8254EB-F39F-8106-9618-A0CEEB94B23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6101" y="3347711"/>
            <a:ext cx="794768" cy="794768"/>
          </a:xfrm>
          <a:prstGeom prst="rect">
            <a:avLst/>
          </a:prstGeom>
        </p:spPr>
      </p:pic>
      <p:sp>
        <p:nvSpPr>
          <p:cNvPr id="25" name="Rectangle 24">
            <a:extLst>
              <a:ext uri="{FF2B5EF4-FFF2-40B4-BE49-F238E27FC236}">
                <a16:creationId xmlns:a16="http://schemas.microsoft.com/office/drawing/2014/main" id="{8EDB11AC-82C5-9847-63EC-8E3529A84690}"/>
              </a:ext>
            </a:extLst>
          </p:cNvPr>
          <p:cNvSpPr/>
          <p:nvPr/>
        </p:nvSpPr>
        <p:spPr>
          <a:xfrm>
            <a:off x="7738203" y="774237"/>
            <a:ext cx="1274240" cy="160399"/>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Literature-Bas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B4C7F3E1-2DC1-731A-2BF7-AE872B626494}"/>
              </a:ext>
            </a:extLst>
          </p:cNvPr>
          <p:cNvSpPr/>
          <p:nvPr/>
        </p:nvSpPr>
        <p:spPr>
          <a:xfrm>
            <a:off x="6401987" y="780913"/>
            <a:ext cx="1274240" cy="160399"/>
          </a:xfrm>
          <a:prstGeom prst="rect">
            <a:avLst/>
          </a:prstGeom>
          <a:solidFill>
            <a:schemeClr val="accent5">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accent5"/>
                </a:solidFill>
                <a:latin typeface="Tahoma" panose="020B0604030504040204" pitchFamily="34" charset="0"/>
                <a:ea typeface="Tahoma" panose="020B0604030504040204" pitchFamily="34" charset="0"/>
                <a:cs typeface="Tahoma" panose="020B0604030504040204" pitchFamily="34" charset="0"/>
              </a:rPr>
              <a:t>Insight-Derived</a:t>
            </a:r>
            <a:endParaRPr lang="en-BE" sz="1000">
              <a:solidFill>
                <a:schemeClr val="accent5"/>
              </a:solidFill>
              <a:latin typeface="Tahoma" panose="020B0604030504040204" pitchFamily="34" charset="0"/>
              <a:ea typeface="Tahoma" panose="020B0604030504040204" pitchFamily="34" charset="0"/>
              <a:cs typeface="Tahoma" panose="020B0604030504040204" pitchFamily="34" charset="0"/>
            </a:endParaRPr>
          </a:p>
        </p:txBody>
      </p:sp>
      <p:pic>
        <p:nvPicPr>
          <p:cNvPr id="32" name="Graphic 31" descr="Sunglasses face outline with solid fill">
            <a:extLst>
              <a:ext uri="{FF2B5EF4-FFF2-40B4-BE49-F238E27FC236}">
                <a16:creationId xmlns:a16="http://schemas.microsoft.com/office/drawing/2014/main" id="{2A2EBA2C-89F7-82C3-2E3D-ADB3DACBD38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393493" y="1266887"/>
            <a:ext cx="448495" cy="448495"/>
          </a:xfrm>
          <a:prstGeom prst="rect">
            <a:avLst/>
          </a:prstGeom>
        </p:spPr>
      </p:pic>
      <p:pic>
        <p:nvPicPr>
          <p:cNvPr id="13" name="Graphic 12" descr="City with solid fill">
            <a:extLst>
              <a:ext uri="{FF2B5EF4-FFF2-40B4-BE49-F238E27FC236}">
                <a16:creationId xmlns:a16="http://schemas.microsoft.com/office/drawing/2014/main" id="{94CBEE09-50ED-DEFE-2504-D6FC481B065F}"/>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258485" y="1189261"/>
            <a:ext cx="555071" cy="581816"/>
          </a:xfrm>
          <a:prstGeom prst="rect">
            <a:avLst/>
          </a:prstGeom>
        </p:spPr>
      </p:pic>
      <p:pic>
        <p:nvPicPr>
          <p:cNvPr id="15" name="Graphic 14" descr="Hashtag with solid fill">
            <a:extLst>
              <a:ext uri="{FF2B5EF4-FFF2-40B4-BE49-F238E27FC236}">
                <a16:creationId xmlns:a16="http://schemas.microsoft.com/office/drawing/2014/main" id="{1484E548-1FE3-8551-CAE6-AD7DBFCFB523}"/>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25381" y="1226733"/>
            <a:ext cx="471477" cy="494194"/>
          </a:xfrm>
          <a:prstGeom prst="rect">
            <a:avLst/>
          </a:prstGeom>
        </p:spPr>
      </p:pic>
      <p:pic>
        <p:nvPicPr>
          <p:cNvPr id="18" name="Graphic 17" descr="Video camera with solid fill">
            <a:extLst>
              <a:ext uri="{FF2B5EF4-FFF2-40B4-BE49-F238E27FC236}">
                <a16:creationId xmlns:a16="http://schemas.microsoft.com/office/drawing/2014/main" id="{524B72D1-7AD9-AC5F-3FF4-266603FD7F1B}"/>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224228" y="2237305"/>
            <a:ext cx="693931" cy="727367"/>
          </a:xfrm>
          <a:prstGeom prst="rect">
            <a:avLst/>
          </a:prstGeom>
        </p:spPr>
      </p:pic>
      <p:sp>
        <p:nvSpPr>
          <p:cNvPr id="19" name="TextBox 18">
            <a:extLst>
              <a:ext uri="{FF2B5EF4-FFF2-40B4-BE49-F238E27FC236}">
                <a16:creationId xmlns:a16="http://schemas.microsoft.com/office/drawing/2014/main" id="{9C32465A-6850-470E-8A05-342D40FF3A58}"/>
              </a:ext>
            </a:extLst>
          </p:cNvPr>
          <p:cNvSpPr txBox="1"/>
          <p:nvPr/>
        </p:nvSpPr>
        <p:spPr>
          <a:xfrm>
            <a:off x="3078749" y="1040199"/>
            <a:ext cx="304304"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sp>
        <p:nvSpPr>
          <p:cNvPr id="20" name="TextBox 19">
            <a:extLst>
              <a:ext uri="{FF2B5EF4-FFF2-40B4-BE49-F238E27FC236}">
                <a16:creationId xmlns:a16="http://schemas.microsoft.com/office/drawing/2014/main" id="{4A56779B-B59E-598A-2708-D6D95721438F}"/>
              </a:ext>
            </a:extLst>
          </p:cNvPr>
          <p:cNvSpPr txBox="1"/>
          <p:nvPr/>
        </p:nvSpPr>
        <p:spPr>
          <a:xfrm>
            <a:off x="3706787" y="1040196"/>
            <a:ext cx="197035" cy="830997"/>
          </a:xfrm>
          <a:prstGeom prst="rect">
            <a:avLst/>
          </a:prstGeom>
          <a:noFill/>
        </p:spPr>
        <p:txBody>
          <a:bodyPr wrap="square" rtlCol="0">
            <a:spAutoFit/>
          </a:bodyPr>
          <a:lstStyle/>
          <a:p>
            <a:r>
              <a:rPr lang="en-GB" sz="4800" b="1">
                <a:solidFill>
                  <a:schemeClr val="accent5">
                    <a:lumMod val="95000"/>
                  </a:schemeClr>
                </a:solidFill>
              </a:rPr>
              <a:t>!</a:t>
            </a:r>
            <a:endParaRPr lang="en-BE" sz="4800" b="1">
              <a:solidFill>
                <a:schemeClr val="accent5">
                  <a:lumMod val="95000"/>
                </a:schemeClr>
              </a:solidFill>
            </a:endParaRPr>
          </a:p>
        </p:txBody>
      </p:sp>
      <p:pic>
        <p:nvPicPr>
          <p:cNvPr id="24" name="Graphic 23" descr="@ with solid fill">
            <a:extLst>
              <a:ext uri="{FF2B5EF4-FFF2-40B4-BE49-F238E27FC236}">
                <a16:creationId xmlns:a16="http://schemas.microsoft.com/office/drawing/2014/main" id="{5EF8B139-E1E7-83BB-A26F-E63A140B6545}"/>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2062110" y="1212493"/>
            <a:ext cx="504917" cy="529246"/>
          </a:xfrm>
          <a:prstGeom prst="rect">
            <a:avLst/>
          </a:prstGeom>
        </p:spPr>
      </p:pic>
      <p:grpSp>
        <p:nvGrpSpPr>
          <p:cNvPr id="54" name="Group 53">
            <a:extLst>
              <a:ext uri="{FF2B5EF4-FFF2-40B4-BE49-F238E27FC236}">
                <a16:creationId xmlns:a16="http://schemas.microsoft.com/office/drawing/2014/main" id="{5B1B88B5-0192-83BA-1B21-997BE9445A7B}"/>
              </a:ext>
            </a:extLst>
          </p:cNvPr>
          <p:cNvGrpSpPr/>
          <p:nvPr/>
        </p:nvGrpSpPr>
        <p:grpSpPr>
          <a:xfrm>
            <a:off x="5225687" y="1261541"/>
            <a:ext cx="591606" cy="453841"/>
            <a:chOff x="6664391" y="987261"/>
            <a:chExt cx="1277892" cy="1045028"/>
          </a:xfrm>
        </p:grpSpPr>
        <p:pic>
          <p:nvPicPr>
            <p:cNvPr id="26" name="Graphic 25" descr="Smiling face with solid fill with solid fill">
              <a:extLst>
                <a:ext uri="{FF2B5EF4-FFF2-40B4-BE49-F238E27FC236}">
                  <a16:creationId xmlns:a16="http://schemas.microsoft.com/office/drawing/2014/main" id="{34A07593-4D97-168D-BF59-56C13C70F8C4}"/>
                </a:ext>
              </a:extLst>
            </p:cNvPr>
            <p:cNvPicPr>
              <a:picLocks noChangeAspect="1"/>
            </p:cNvPicPr>
            <p:nvPr/>
          </p:nvPicPr>
          <p:blipFill>
            <a:blip r:embed="rId13">
              <a:extLst>
                <a:ext uri="{96DAC541-7B7A-43D3-8B79-37D633B846F1}">
                  <asvg:svgBlip xmlns:asvg="http://schemas.microsoft.com/office/drawing/2016/SVG/main" r:embed="rId47"/>
                </a:ext>
              </a:extLst>
            </a:blip>
            <a:stretch>
              <a:fillRect/>
            </a:stretch>
          </p:blipFill>
          <p:spPr>
            <a:xfrm>
              <a:off x="6664391" y="987261"/>
              <a:ext cx="914400" cy="914400"/>
            </a:xfrm>
            <a:prstGeom prst="rect">
              <a:avLst/>
            </a:prstGeom>
          </p:spPr>
        </p:pic>
        <p:pic>
          <p:nvPicPr>
            <p:cNvPr id="30" name="Graphic 29" descr="Angry face outline with solid fill">
              <a:extLst>
                <a:ext uri="{FF2B5EF4-FFF2-40B4-BE49-F238E27FC236}">
                  <a16:creationId xmlns:a16="http://schemas.microsoft.com/office/drawing/2014/main" id="{A6ADCDE5-CD33-7E1B-6786-4465EEA6ED8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27883" y="1117889"/>
              <a:ext cx="914400" cy="914400"/>
            </a:xfrm>
            <a:prstGeom prst="rect">
              <a:avLst/>
            </a:prstGeom>
          </p:spPr>
        </p:pic>
      </p:grpSp>
      <p:pic>
        <p:nvPicPr>
          <p:cNvPr id="17" name="Graphic 16" descr="Internet with solid fill">
            <a:extLst>
              <a:ext uri="{FF2B5EF4-FFF2-40B4-BE49-F238E27FC236}">
                <a16:creationId xmlns:a16="http://schemas.microsoft.com/office/drawing/2014/main" id="{6A609AE3-EDAA-6969-9A6A-4DAF0D4261B7}"/>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4299997" y="1160243"/>
            <a:ext cx="620638" cy="650543"/>
          </a:xfrm>
          <a:prstGeom prst="rect">
            <a:avLst/>
          </a:prstGeom>
        </p:spPr>
      </p:pic>
      <p:sp>
        <p:nvSpPr>
          <p:cNvPr id="28" name="TextBox 27">
            <a:extLst>
              <a:ext uri="{FF2B5EF4-FFF2-40B4-BE49-F238E27FC236}">
                <a16:creationId xmlns:a16="http://schemas.microsoft.com/office/drawing/2014/main" id="{0043C62B-26CE-8712-F745-1833DF3118FC}"/>
              </a:ext>
            </a:extLst>
          </p:cNvPr>
          <p:cNvSpPr txBox="1"/>
          <p:nvPr/>
        </p:nvSpPr>
        <p:spPr>
          <a:xfrm>
            <a:off x="5967838" y="1258525"/>
            <a:ext cx="1086523" cy="461665"/>
          </a:xfrm>
          <a:prstGeom prst="rect">
            <a:avLst/>
          </a:prstGeom>
          <a:noFill/>
        </p:spPr>
        <p:txBody>
          <a:bodyPr wrap="square" rtlCol="0">
            <a:spAutoFit/>
          </a:bodyPr>
          <a:lstStyle/>
          <a:p>
            <a:r>
              <a:rPr lang="en-GB" sz="2400" b="1">
                <a:solidFill>
                  <a:schemeClr val="accent5">
                    <a:lumMod val="95000"/>
                  </a:schemeClr>
                </a:solidFill>
              </a:rPr>
              <a:t>ABC</a:t>
            </a:r>
            <a:endParaRPr lang="en-BE" sz="2400" b="1">
              <a:solidFill>
                <a:schemeClr val="accent5">
                  <a:lumMod val="95000"/>
                </a:schemeClr>
              </a:solidFill>
            </a:endParaRPr>
          </a:p>
        </p:txBody>
      </p:sp>
      <p:pic>
        <p:nvPicPr>
          <p:cNvPr id="39" name="Graphic 38" descr="Information with solid fill">
            <a:extLst>
              <a:ext uri="{FF2B5EF4-FFF2-40B4-BE49-F238E27FC236}">
                <a16:creationId xmlns:a16="http://schemas.microsoft.com/office/drawing/2014/main" id="{D2E144D2-AFC5-9D67-D3D1-4209D49AE0E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7593834" y="1284433"/>
            <a:ext cx="434158" cy="434158"/>
          </a:xfrm>
          <a:prstGeom prst="rect">
            <a:avLst/>
          </a:prstGeom>
        </p:spPr>
      </p:pic>
      <p:pic>
        <p:nvPicPr>
          <p:cNvPr id="37" name="Graphic 36" descr="Tag with solid fill">
            <a:extLst>
              <a:ext uri="{FF2B5EF4-FFF2-40B4-BE49-F238E27FC236}">
                <a16:creationId xmlns:a16="http://schemas.microsoft.com/office/drawing/2014/main" id="{CB4B1F98-D002-E358-B0F6-18603DDD6993}"/>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6829925" y="1243933"/>
            <a:ext cx="483162" cy="483162"/>
          </a:xfrm>
          <a:prstGeom prst="rect">
            <a:avLst/>
          </a:prstGeom>
        </p:spPr>
      </p:pic>
      <p:grpSp>
        <p:nvGrpSpPr>
          <p:cNvPr id="56" name="Group 55">
            <a:extLst>
              <a:ext uri="{FF2B5EF4-FFF2-40B4-BE49-F238E27FC236}">
                <a16:creationId xmlns:a16="http://schemas.microsoft.com/office/drawing/2014/main" id="{F6548A5D-C19D-297E-BDFC-FFAC88432A2B}"/>
              </a:ext>
            </a:extLst>
          </p:cNvPr>
          <p:cNvGrpSpPr/>
          <p:nvPr/>
        </p:nvGrpSpPr>
        <p:grpSpPr>
          <a:xfrm>
            <a:off x="7810913" y="3295695"/>
            <a:ext cx="859820" cy="857085"/>
            <a:chOff x="7853847" y="3221095"/>
            <a:chExt cx="932834" cy="903974"/>
          </a:xfrm>
          <a:solidFill>
            <a:schemeClr val="accent5">
              <a:lumMod val="95000"/>
            </a:schemeClr>
          </a:solidFill>
        </p:grpSpPr>
        <p:pic>
          <p:nvPicPr>
            <p:cNvPr id="47" name="Graphic 46" descr="Image with solid fill">
              <a:extLst>
                <a:ext uri="{FF2B5EF4-FFF2-40B4-BE49-F238E27FC236}">
                  <a16:creationId xmlns:a16="http://schemas.microsoft.com/office/drawing/2014/main" id="{DA88EF97-0AF1-F991-8C8D-6276B4BDD1FC}"/>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853847" y="3221095"/>
              <a:ext cx="903974" cy="903974"/>
            </a:xfrm>
            <a:prstGeom prst="rect">
              <a:avLst/>
            </a:prstGeom>
          </p:spPr>
        </p:pic>
        <p:sp>
          <p:nvSpPr>
            <p:cNvPr id="49" name="TextBox 48">
              <a:extLst>
                <a:ext uri="{FF2B5EF4-FFF2-40B4-BE49-F238E27FC236}">
                  <a16:creationId xmlns:a16="http://schemas.microsoft.com/office/drawing/2014/main" id="{30C9B1FF-0683-FE2C-3ADE-1ED33E508E4B}"/>
                </a:ext>
              </a:extLst>
            </p:cNvPr>
            <p:cNvSpPr txBox="1"/>
            <p:nvPr/>
          </p:nvSpPr>
          <p:spPr>
            <a:xfrm>
              <a:off x="8185116" y="3399380"/>
              <a:ext cx="601565" cy="292153"/>
            </a:xfrm>
            <a:prstGeom prst="rect">
              <a:avLst/>
            </a:prstGeom>
            <a:grpFill/>
          </p:spPr>
          <p:txBody>
            <a:bodyPr wrap="square" rtlCol="0">
              <a:spAutoFit/>
            </a:bodyPr>
            <a:lstStyle/>
            <a:p>
              <a:r>
                <a:rPr lang="en-GB" sz="1200" b="1">
                  <a:solidFill>
                    <a:schemeClr val="accent5">
                      <a:lumMod val="95000"/>
                    </a:schemeClr>
                  </a:solidFill>
                </a:rPr>
                <a:t>ABC</a:t>
              </a:r>
              <a:endParaRPr lang="en-BE" sz="1200" b="1">
                <a:solidFill>
                  <a:schemeClr val="accent5">
                    <a:lumMod val="95000"/>
                  </a:schemeClr>
                </a:solidFill>
              </a:endParaRPr>
            </a:p>
          </p:txBody>
        </p:sp>
      </p:grpSp>
      <p:sp>
        <p:nvSpPr>
          <p:cNvPr id="29" name="TextBox 28">
            <a:extLst>
              <a:ext uri="{FF2B5EF4-FFF2-40B4-BE49-F238E27FC236}">
                <a16:creationId xmlns:a16="http://schemas.microsoft.com/office/drawing/2014/main" id="{B75987FF-90AC-C0B2-AE4A-CDB0A3FFB37D}"/>
              </a:ext>
            </a:extLst>
          </p:cNvPr>
          <p:cNvSpPr txBox="1"/>
          <p:nvPr/>
        </p:nvSpPr>
        <p:spPr>
          <a:xfrm>
            <a:off x="1080630" y="4486884"/>
            <a:ext cx="1967615" cy="630942"/>
          </a:xfrm>
          <a:prstGeom prst="rect">
            <a:avLst/>
          </a:prstGeom>
          <a:noFill/>
        </p:spPr>
        <p:txBody>
          <a:bodyPr wrap="square">
            <a:spAutoFit/>
          </a:bodyPr>
          <a:lstStyle/>
          <a:p>
            <a:pPr algn="l"/>
            <a:r>
              <a:rPr lang="en-GB" sz="700" b="1" i="0" baseline="30000">
                <a:solidFill>
                  <a:srgbClr val="0A1D3D"/>
                </a:solidFill>
                <a:effectLst/>
                <a:latin typeface="Calibri" panose="020F0502020204030204" pitchFamily="34" charset="0"/>
                <a:ea typeface="Calibri" panose="020F0502020204030204" pitchFamily="34" charset="0"/>
                <a:cs typeface="Calibri" panose="020F0502020204030204" pitchFamily="34" charset="0"/>
              </a:rPr>
              <a:t>1</a:t>
            </a:r>
            <a:r>
              <a:rPr lang="en-GB" sz="700" i="0" baseline="30000">
                <a:solidFill>
                  <a:srgbClr val="0A1D3D"/>
                </a:solidFill>
                <a:effectLst/>
                <a:latin typeface="Calibri" panose="020F0502020204030204" pitchFamily="34" charset="0"/>
                <a:ea typeface="Calibri" panose="020F0502020204030204" pitchFamily="34" charset="0"/>
                <a:cs typeface="Calibri" panose="020F0502020204030204" pitchFamily="34" charset="0"/>
              </a:rPr>
              <a:t> </a:t>
            </a:r>
            <a:r>
              <a:rPr lang="en-GB" sz="700" i="0">
                <a:solidFill>
                  <a:srgbClr val="0A1D3D"/>
                </a:solidFill>
                <a:effectLst/>
                <a:latin typeface="Calibri" panose="020F0502020204030204" pitchFamily="34" charset="0"/>
                <a:ea typeface="Calibri" panose="020F0502020204030204" pitchFamily="34" charset="0"/>
                <a:cs typeface="Calibri" panose="020F0502020204030204" pitchFamily="34" charset="0"/>
              </a:rPr>
              <a:t>De Vries, L., Gensler, S., &amp; </a:t>
            </a:r>
            <a:r>
              <a:rPr lang="en-GB" sz="700" i="0" err="1">
                <a:solidFill>
                  <a:srgbClr val="0A1D3D"/>
                </a:solidFill>
                <a:effectLst/>
                <a:latin typeface="Calibri" panose="020F0502020204030204" pitchFamily="34" charset="0"/>
                <a:ea typeface="Calibri" panose="020F0502020204030204" pitchFamily="34" charset="0"/>
                <a:cs typeface="Calibri" panose="020F0502020204030204" pitchFamily="34" charset="0"/>
              </a:rPr>
              <a:t>Leeflang</a:t>
            </a:r>
            <a:r>
              <a:rPr lang="en-GB" sz="700" i="0">
                <a:solidFill>
                  <a:srgbClr val="0A1D3D"/>
                </a:solidFill>
                <a:effectLst/>
                <a:latin typeface="Calibri" panose="020F0502020204030204" pitchFamily="34" charset="0"/>
                <a:ea typeface="Calibri" panose="020F0502020204030204" pitchFamily="34" charset="0"/>
                <a:cs typeface="Calibri" panose="020F0502020204030204" pitchFamily="34" charset="0"/>
              </a:rPr>
              <a:t>, P. S. (2012). Popularity of brand posts on brand fan pages: An investigation of the effects of social media marketing. </a:t>
            </a:r>
            <a:r>
              <a:rPr lang="en-GB" sz="700" i="1">
                <a:solidFill>
                  <a:srgbClr val="0A1D3D"/>
                </a:solidFill>
                <a:effectLst/>
                <a:latin typeface="Calibri" panose="020F0502020204030204" pitchFamily="34" charset="0"/>
                <a:ea typeface="Calibri" panose="020F0502020204030204" pitchFamily="34" charset="0"/>
                <a:cs typeface="Calibri" panose="020F0502020204030204" pitchFamily="34" charset="0"/>
              </a:rPr>
              <a:t>Journal of interactive marketing</a:t>
            </a:r>
            <a:r>
              <a:rPr lang="en-GB" sz="700" i="0">
                <a:solidFill>
                  <a:srgbClr val="0A1D3D"/>
                </a:solidFill>
                <a:effectLst/>
                <a:latin typeface="Calibri" panose="020F0502020204030204" pitchFamily="34" charset="0"/>
                <a:ea typeface="Calibri" panose="020F0502020204030204" pitchFamily="34" charset="0"/>
                <a:cs typeface="Calibri" panose="020F0502020204030204" pitchFamily="34" charset="0"/>
              </a:rPr>
              <a:t>, </a:t>
            </a:r>
            <a:r>
              <a:rPr lang="en-GB" sz="700" i="1">
                <a:solidFill>
                  <a:srgbClr val="0A1D3D"/>
                </a:solidFill>
                <a:effectLst/>
                <a:latin typeface="Calibri" panose="020F0502020204030204" pitchFamily="34" charset="0"/>
                <a:ea typeface="Calibri" panose="020F0502020204030204" pitchFamily="34" charset="0"/>
                <a:cs typeface="Calibri" panose="020F0502020204030204" pitchFamily="34" charset="0"/>
              </a:rPr>
              <a:t>26</a:t>
            </a:r>
            <a:r>
              <a:rPr lang="en-GB" sz="700" i="0">
                <a:solidFill>
                  <a:srgbClr val="0A1D3D"/>
                </a:solidFill>
                <a:effectLst/>
                <a:latin typeface="Calibri" panose="020F0502020204030204" pitchFamily="34" charset="0"/>
                <a:ea typeface="Calibri" panose="020F0502020204030204" pitchFamily="34" charset="0"/>
                <a:cs typeface="Calibri" panose="020F0502020204030204" pitchFamily="34" charset="0"/>
              </a:rPr>
              <a:t>(2), 83-91.</a:t>
            </a:r>
            <a:endParaRPr lang="en-BE" sz="700">
              <a:solidFill>
                <a:srgbClr val="0A1D3D"/>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F30C9D97-D374-CB45-9974-B76AF3D93BF2}"/>
              </a:ext>
            </a:extLst>
          </p:cNvPr>
          <p:cNvSpPr txBox="1"/>
          <p:nvPr/>
        </p:nvSpPr>
        <p:spPr>
          <a:xfrm>
            <a:off x="2961885" y="4492220"/>
            <a:ext cx="2047051" cy="523220"/>
          </a:xfrm>
          <a:prstGeom prst="rect">
            <a:avLst/>
          </a:prstGeom>
          <a:noFill/>
        </p:spPr>
        <p:txBody>
          <a:bodyPr wrap="square">
            <a:spAutoFit/>
          </a:bodyPr>
          <a:lstStyle/>
          <a:p>
            <a:r>
              <a:rPr lang="en-GB" sz="700" b="1" baseline="300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rPr>
              <a:t>2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Meire</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Hewett, K.,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Ballings</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M., Kumar, V., &amp; Van den Poel, D. (2019). The role of marketer-generated content in customer engagement marketing.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Journal of Marketing</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83</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6), 21-42.</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D9A017BB-9244-9638-7A20-C3185E5E1CD7}"/>
              </a:ext>
            </a:extLst>
          </p:cNvPr>
          <p:cNvSpPr txBox="1"/>
          <p:nvPr/>
        </p:nvSpPr>
        <p:spPr>
          <a:xfrm>
            <a:off x="6744090" y="4498674"/>
            <a:ext cx="1699487" cy="630942"/>
          </a:xfrm>
          <a:prstGeom prst="rect">
            <a:avLst/>
          </a:prstGeom>
          <a:noFill/>
        </p:spPr>
        <p:txBody>
          <a:bodyPr wrap="square">
            <a:spAutoFit/>
          </a:bodyPr>
          <a:lstStyle/>
          <a:p>
            <a:r>
              <a:rPr lang="en-GB" sz="700" b="1" i="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4 </a:t>
            </a:r>
            <a:r>
              <a:rPr lang="en-GB" sz="700" b="0" i="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Öhman</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W. (2017). </a:t>
            </a:r>
            <a:r>
              <a:rPr lang="en-GB" sz="700" b="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Instagram marketing: a study about the effect of visual content on customer engagement in the airline industry</a:t>
            </a:r>
            <a:r>
              <a:rPr lang="en-GB" sz="700" b="0" i="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Doctoral dissertation).</a:t>
            </a:r>
            <a:endParaRPr lang="en-BE" sz="700">
              <a:solidFill>
                <a:schemeClr val="accent5">
                  <a:lumMod val="9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9A6DDA41-C10D-C741-0D18-B4C274DE393E}"/>
              </a:ext>
            </a:extLst>
          </p:cNvPr>
          <p:cNvSpPr txBox="1"/>
          <p:nvPr/>
        </p:nvSpPr>
        <p:spPr>
          <a:xfrm>
            <a:off x="4884256" y="4498674"/>
            <a:ext cx="1866074" cy="630942"/>
          </a:xfrm>
          <a:prstGeom prst="rect">
            <a:avLst/>
          </a:prstGeom>
          <a:noFill/>
        </p:spPr>
        <p:txBody>
          <a:bodyPr wrap="square">
            <a:spAutoFit/>
          </a:bodyPr>
          <a:lstStyle/>
          <a:p>
            <a:r>
              <a:rPr lang="en-GB" sz="700" b="1"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3</a:t>
            </a:r>
            <a:r>
              <a:rPr lang="en-GB" sz="700" baseline="300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a:t>
            </a:r>
            <a:r>
              <a:rPr lang="en-GB" sz="700" err="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Kastrenakes</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J. (2015, September 27). </a:t>
            </a:r>
            <a:r>
              <a:rPr lang="en-GB" sz="700" i="1">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Portrait is the new square on Instagram</a:t>
            </a:r>
            <a:r>
              <a:rPr lang="en-GB" sz="700">
                <a:solidFill>
                  <a:schemeClr val="accent5">
                    <a:lumMod val="95000"/>
                  </a:schemeClr>
                </a:solidFill>
                <a:effectLst/>
                <a:latin typeface="Calibri" panose="020F0502020204030204" pitchFamily="34" charset="0"/>
                <a:ea typeface="Calibri" panose="020F0502020204030204" pitchFamily="34" charset="0"/>
                <a:cs typeface="Calibri" panose="020F0502020204030204" pitchFamily="34" charset="0"/>
              </a:rPr>
              <a:t>. The Verge. https://www.theverge.com/2015/9/27/9398551/instagram-portrait-photos-rule </a:t>
            </a:r>
          </a:p>
        </p:txBody>
      </p:sp>
      <p:grpSp>
        <p:nvGrpSpPr>
          <p:cNvPr id="43" name="Group 42">
            <a:extLst>
              <a:ext uri="{FF2B5EF4-FFF2-40B4-BE49-F238E27FC236}">
                <a16:creationId xmlns:a16="http://schemas.microsoft.com/office/drawing/2014/main" id="{CF4EAA82-FA43-F926-ACA1-C460433970C2}"/>
              </a:ext>
            </a:extLst>
          </p:cNvPr>
          <p:cNvGrpSpPr/>
          <p:nvPr/>
        </p:nvGrpSpPr>
        <p:grpSpPr>
          <a:xfrm>
            <a:off x="8407295" y="-20424"/>
            <a:ext cx="871964" cy="568268"/>
            <a:chOff x="8285465" y="87566"/>
            <a:chExt cx="871964" cy="568268"/>
          </a:xfrm>
        </p:grpSpPr>
        <p:sp>
          <p:nvSpPr>
            <p:cNvPr id="48" name="Google Shape;3967;p40">
              <a:extLst>
                <a:ext uri="{FF2B5EF4-FFF2-40B4-BE49-F238E27FC236}">
                  <a16:creationId xmlns:a16="http://schemas.microsoft.com/office/drawing/2014/main" id="{67BC748D-8756-4671-5FEC-30C1CFAF9836}"/>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51" name="Graphic 50">
              <a:extLst>
                <a:ext uri="{FF2B5EF4-FFF2-40B4-BE49-F238E27FC236}">
                  <a16:creationId xmlns:a16="http://schemas.microsoft.com/office/drawing/2014/main" id="{88EC8F2A-9279-CE78-A78C-26C5AFE21466}"/>
                </a:ext>
              </a:extLst>
            </p:cNvPr>
            <p:cNvPicPr>
              <a:picLocks noChangeAspect="1"/>
            </p:cNvPicPr>
            <p:nvPr/>
          </p:nvPicPr>
          <p:blipFill>
            <a:blip r:embed="rId58">
              <a:extLst>
                <a:ext uri="{96DAC541-7B7A-43D3-8B79-37D633B846F1}">
                  <asvg:svgBlip xmlns:asvg="http://schemas.microsoft.com/office/drawing/2016/SVG/main" r:embed="rId59"/>
                </a:ext>
              </a:extLst>
            </a:blip>
            <a:srcRect/>
            <a:stretch/>
          </p:blipFill>
          <p:spPr>
            <a:xfrm>
              <a:off x="8561402" y="87566"/>
              <a:ext cx="348226" cy="348226"/>
            </a:xfrm>
            <a:prstGeom prst="rect">
              <a:avLst/>
            </a:prstGeom>
          </p:spPr>
        </p:pic>
      </p:grpSp>
    </p:spTree>
    <p:extLst>
      <p:ext uri="{BB962C8B-B14F-4D97-AF65-F5344CB8AC3E}">
        <p14:creationId xmlns:p14="http://schemas.microsoft.com/office/powerpoint/2010/main" val="2249478648"/>
      </p:ext>
    </p:extLst>
  </p:cSld>
  <p:clrMapOvr>
    <a:masterClrMapping/>
  </p:clrMapOvr>
  <mc:AlternateContent xmlns:mc="http://schemas.openxmlformats.org/markup-compatibility/2006">
    <mc:Choice xmlns:p159="http://schemas.microsoft.com/office/powerpoint/2015/09/main" Requires="p159">
      <p:transition>
        <p159:morph option="byObject"/>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5AB328-8B5E-862B-DD6A-BE112B2F1570}"/>
              </a:ext>
            </a:extLst>
          </p:cNvPr>
          <p:cNvSpPr>
            <a:spLocks noGrp="1"/>
          </p:cNvSpPr>
          <p:nvPr>
            <p:ph type="title"/>
          </p:nvPr>
        </p:nvSpPr>
        <p:spPr/>
        <p:txBody>
          <a:bodyPr/>
          <a:lstStyle/>
          <a:p>
            <a:r>
              <a:rPr lang="nl-NL"/>
              <a:t>drivers</a:t>
            </a:r>
            <a:endParaRPr lang="nl-BE"/>
          </a:p>
        </p:txBody>
      </p:sp>
      <p:grpSp>
        <p:nvGrpSpPr>
          <p:cNvPr id="8" name="Group 7">
            <a:extLst>
              <a:ext uri="{FF2B5EF4-FFF2-40B4-BE49-F238E27FC236}">
                <a16:creationId xmlns:a16="http://schemas.microsoft.com/office/drawing/2014/main" id="{626D1402-C95E-5214-6DEA-34B95E1626BA}"/>
              </a:ext>
            </a:extLst>
          </p:cNvPr>
          <p:cNvGrpSpPr/>
          <p:nvPr/>
        </p:nvGrpSpPr>
        <p:grpSpPr>
          <a:xfrm>
            <a:off x="8407295" y="-20424"/>
            <a:ext cx="871964" cy="568268"/>
            <a:chOff x="8285465" y="87566"/>
            <a:chExt cx="871964" cy="568268"/>
          </a:xfrm>
        </p:grpSpPr>
        <p:sp>
          <p:nvSpPr>
            <p:cNvPr id="9" name="Google Shape;3967;p40">
              <a:extLst>
                <a:ext uri="{FF2B5EF4-FFF2-40B4-BE49-F238E27FC236}">
                  <a16:creationId xmlns:a16="http://schemas.microsoft.com/office/drawing/2014/main" id="{9CE012B8-AD60-182A-A067-4F449F31A98A}"/>
                </a:ext>
              </a:extLst>
            </p:cNvPr>
            <p:cNvSpPr txBox="1">
              <a:spLocks/>
            </p:cNvSpPr>
            <p:nvPr/>
          </p:nvSpPr>
          <p:spPr>
            <a:xfrm>
              <a:off x="8285465" y="34465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Engagement Drivers</a:t>
              </a:r>
            </a:p>
          </p:txBody>
        </p:sp>
        <p:pic>
          <p:nvPicPr>
            <p:cNvPr id="10" name="Graphic 9">
              <a:extLst>
                <a:ext uri="{FF2B5EF4-FFF2-40B4-BE49-F238E27FC236}">
                  <a16:creationId xmlns:a16="http://schemas.microsoft.com/office/drawing/2014/main" id="{5095C8FE-182D-5AFB-CCE3-F66C6468A63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561402" y="87566"/>
              <a:ext cx="348226" cy="348226"/>
            </a:xfrm>
            <a:prstGeom prst="rect">
              <a:avLst/>
            </a:prstGeom>
          </p:spPr>
        </p:pic>
      </p:grpSp>
      <p:grpSp>
        <p:nvGrpSpPr>
          <p:cNvPr id="40" name="Group 39">
            <a:extLst>
              <a:ext uri="{FF2B5EF4-FFF2-40B4-BE49-F238E27FC236}">
                <a16:creationId xmlns:a16="http://schemas.microsoft.com/office/drawing/2014/main" id="{EA573DF1-71EF-96C7-877D-C6D64F8E5CD9}"/>
              </a:ext>
            </a:extLst>
          </p:cNvPr>
          <p:cNvGrpSpPr/>
          <p:nvPr/>
        </p:nvGrpSpPr>
        <p:grpSpPr>
          <a:xfrm>
            <a:off x="622087" y="642120"/>
            <a:ext cx="8061145" cy="4174388"/>
            <a:chOff x="622087" y="642120"/>
            <a:chExt cx="8061145" cy="4174388"/>
          </a:xfrm>
        </p:grpSpPr>
        <p:grpSp>
          <p:nvGrpSpPr>
            <p:cNvPr id="39" name="Group 38">
              <a:extLst>
                <a:ext uri="{FF2B5EF4-FFF2-40B4-BE49-F238E27FC236}">
                  <a16:creationId xmlns:a16="http://schemas.microsoft.com/office/drawing/2014/main" id="{837A6362-7E2A-24E5-5609-EEFEB4E0D05A}"/>
                </a:ext>
              </a:extLst>
            </p:cNvPr>
            <p:cNvGrpSpPr/>
            <p:nvPr/>
          </p:nvGrpSpPr>
          <p:grpSpPr>
            <a:xfrm>
              <a:off x="622087" y="642120"/>
              <a:ext cx="8061145" cy="4174388"/>
              <a:chOff x="622087" y="642120"/>
              <a:chExt cx="8061145" cy="4174388"/>
            </a:xfrm>
          </p:grpSpPr>
          <p:grpSp>
            <p:nvGrpSpPr>
              <p:cNvPr id="34" name="Group 33">
                <a:extLst>
                  <a:ext uri="{FF2B5EF4-FFF2-40B4-BE49-F238E27FC236}">
                    <a16:creationId xmlns:a16="http://schemas.microsoft.com/office/drawing/2014/main" id="{CA18BFF2-F61A-ECF4-B202-E679D16748C1}"/>
                  </a:ext>
                </a:extLst>
              </p:cNvPr>
              <p:cNvGrpSpPr/>
              <p:nvPr/>
            </p:nvGrpSpPr>
            <p:grpSpPr>
              <a:xfrm>
                <a:off x="2170784" y="642120"/>
                <a:ext cx="4492406" cy="4174388"/>
                <a:chOff x="2170784" y="642120"/>
                <a:chExt cx="4492406" cy="4174388"/>
              </a:xfrm>
            </p:grpSpPr>
            <p:sp>
              <p:nvSpPr>
                <p:cNvPr id="18" name="Flowchart: Connector 17">
                  <a:extLst>
                    <a:ext uri="{FF2B5EF4-FFF2-40B4-BE49-F238E27FC236}">
                      <a16:creationId xmlns:a16="http://schemas.microsoft.com/office/drawing/2014/main" id="{B8F449EA-AA3C-D0F9-3F47-905EE4710EBF}"/>
                    </a:ext>
                  </a:extLst>
                </p:cNvPr>
                <p:cNvSpPr/>
                <p:nvPr/>
              </p:nvSpPr>
              <p:spPr>
                <a:xfrm>
                  <a:off x="3567720" y="642120"/>
                  <a:ext cx="1634466" cy="1655928"/>
                </a:xfrm>
                <a:prstGeom prst="flowChartConnector">
                  <a:avLst/>
                </a:prstGeom>
                <a:solidFill>
                  <a:srgbClr val="2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9" name="Flowchart: Connector 18">
                  <a:extLst>
                    <a:ext uri="{FF2B5EF4-FFF2-40B4-BE49-F238E27FC236}">
                      <a16:creationId xmlns:a16="http://schemas.microsoft.com/office/drawing/2014/main" id="{604BCE60-FDFB-CEF9-8FFB-7084A493E471}"/>
                    </a:ext>
                  </a:extLst>
                </p:cNvPr>
                <p:cNvSpPr/>
                <p:nvPr/>
              </p:nvSpPr>
              <p:spPr>
                <a:xfrm>
                  <a:off x="2170784" y="1870610"/>
                  <a:ext cx="1634466" cy="1655928"/>
                </a:xfrm>
                <a:prstGeom prst="flowChartConnector">
                  <a:avLst/>
                </a:prstGeom>
                <a:solidFill>
                  <a:srgbClr val="0A1D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0" name="Flowchart: Connector 19">
                  <a:extLst>
                    <a:ext uri="{FF2B5EF4-FFF2-40B4-BE49-F238E27FC236}">
                      <a16:creationId xmlns:a16="http://schemas.microsoft.com/office/drawing/2014/main" id="{85439BF1-B3D6-A267-C967-3066A6CDB6EE}"/>
                    </a:ext>
                  </a:extLst>
                </p:cNvPr>
                <p:cNvSpPr/>
                <p:nvPr/>
              </p:nvSpPr>
              <p:spPr>
                <a:xfrm>
                  <a:off x="5028724" y="1870610"/>
                  <a:ext cx="1634466" cy="1655928"/>
                </a:xfrm>
                <a:prstGeom prst="flowChartConnector">
                  <a:avLst/>
                </a:prstGeom>
                <a:solidFill>
                  <a:srgbClr val="0A1D3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1" name="Flowchart: Connector 20">
                  <a:extLst>
                    <a:ext uri="{FF2B5EF4-FFF2-40B4-BE49-F238E27FC236}">
                      <a16:creationId xmlns:a16="http://schemas.microsoft.com/office/drawing/2014/main" id="{C0313FAC-3A77-CEF0-E30D-F66137BF876D}"/>
                    </a:ext>
                  </a:extLst>
                </p:cNvPr>
                <p:cNvSpPr/>
                <p:nvPr/>
              </p:nvSpPr>
              <p:spPr>
                <a:xfrm>
                  <a:off x="3567720" y="3160580"/>
                  <a:ext cx="1634466" cy="1655928"/>
                </a:xfrm>
                <a:prstGeom prst="flowChartConnector">
                  <a:avLst/>
                </a:prstGeom>
                <a:solidFill>
                  <a:srgbClr val="2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2" name="Rectangle 21">
                  <a:extLst>
                    <a:ext uri="{FF2B5EF4-FFF2-40B4-BE49-F238E27FC236}">
                      <a16:creationId xmlns:a16="http://schemas.microsoft.com/office/drawing/2014/main" id="{6C515753-BE9C-8452-232C-DC9CC887A19C}"/>
                    </a:ext>
                  </a:extLst>
                </p:cNvPr>
                <p:cNvSpPr/>
                <p:nvPr/>
              </p:nvSpPr>
              <p:spPr>
                <a:xfrm rot="2715607">
                  <a:off x="3754953" y="2058298"/>
                  <a:ext cx="1260000" cy="1260000"/>
                </a:xfrm>
                <a:prstGeom prst="rect">
                  <a:avLst/>
                </a:prstGeom>
                <a:noFill/>
                <a:ln w="571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5" name="Picture 7" descr="A logo on a black background&#10;&#10;Description automatically generated">
                  <a:extLst>
                    <a:ext uri="{FF2B5EF4-FFF2-40B4-BE49-F238E27FC236}">
                      <a16:creationId xmlns:a16="http://schemas.microsoft.com/office/drawing/2014/main" id="{789C4F6B-4602-52D5-82B2-D544AB8FFFE0}"/>
                    </a:ext>
                  </a:extLst>
                </p:cNvPr>
                <p:cNvPicPr>
                  <a:picLocks noChangeAspect="1"/>
                </p:cNvPicPr>
                <p:nvPr/>
              </p:nvPicPr>
              <p:blipFill rotWithShape="1">
                <a:blip r:embed="rId5">
                  <a:lum bright="70000" contrast="-70000"/>
                </a:blip>
                <a:srcRect l="10596" t="38994" r="10322" b="39251"/>
                <a:stretch/>
              </p:blipFill>
              <p:spPr>
                <a:xfrm>
                  <a:off x="3567720" y="3906512"/>
                  <a:ext cx="1588747" cy="291363"/>
                </a:xfrm>
                <a:prstGeom prst="rect">
                  <a:avLst/>
                </a:prstGeom>
              </p:spPr>
            </p:pic>
            <p:pic>
              <p:nvPicPr>
                <p:cNvPr id="24" name="Graphic 23" descr="Palette outline">
                  <a:extLst>
                    <a:ext uri="{FF2B5EF4-FFF2-40B4-BE49-F238E27FC236}">
                      <a16:creationId xmlns:a16="http://schemas.microsoft.com/office/drawing/2014/main" id="{803850FE-9A32-26EC-4E16-60DF127120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90903" y="2107207"/>
                  <a:ext cx="1182734" cy="1182734"/>
                </a:xfrm>
                <a:prstGeom prst="rect">
                  <a:avLst/>
                </a:prstGeom>
              </p:spPr>
            </p:pic>
            <p:pic>
              <p:nvPicPr>
                <p:cNvPr id="26" name="Graphic 25" descr="Airplane outline">
                  <a:extLst>
                    <a:ext uri="{FF2B5EF4-FFF2-40B4-BE49-F238E27FC236}">
                      <a16:creationId xmlns:a16="http://schemas.microsoft.com/office/drawing/2014/main" id="{FB93AFBE-0C6D-6991-685E-97F588AEB3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3361" y="681652"/>
                  <a:ext cx="1083184" cy="1083184"/>
                </a:xfrm>
                <a:prstGeom prst="rect">
                  <a:avLst/>
                </a:prstGeom>
              </p:spPr>
            </p:pic>
            <p:pic>
              <p:nvPicPr>
                <p:cNvPr id="28" name="Graphic 27" descr="Tag outline">
                  <a:extLst>
                    <a:ext uri="{FF2B5EF4-FFF2-40B4-BE49-F238E27FC236}">
                      <a16:creationId xmlns:a16="http://schemas.microsoft.com/office/drawing/2014/main" id="{9501DCDA-302C-50F2-7610-F5DD060DD8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26811" y="2169152"/>
                  <a:ext cx="1038291" cy="1038291"/>
                </a:xfrm>
                <a:prstGeom prst="rect">
                  <a:avLst/>
                </a:prstGeom>
              </p:spPr>
            </p:pic>
          </p:grpSp>
          <p:sp>
            <p:nvSpPr>
              <p:cNvPr id="33" name="TextBox 32">
                <a:extLst>
                  <a:ext uri="{FF2B5EF4-FFF2-40B4-BE49-F238E27FC236}">
                    <a16:creationId xmlns:a16="http://schemas.microsoft.com/office/drawing/2014/main" id="{7AB934DF-386D-E468-8994-7BEB93144EE4}"/>
                  </a:ext>
                </a:extLst>
              </p:cNvPr>
              <p:cNvSpPr txBox="1"/>
              <p:nvPr/>
            </p:nvSpPr>
            <p:spPr>
              <a:xfrm>
                <a:off x="5156467" y="808862"/>
                <a:ext cx="1873920" cy="307777"/>
              </a:xfrm>
              <a:prstGeom prst="rect">
                <a:avLst/>
              </a:prstGeom>
              <a:noFill/>
            </p:spPr>
            <p:txBody>
              <a:bodyPr wrap="square">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Contains Airplane</a:t>
                </a:r>
                <a:endParaRPr lang="en-BE">
                  <a:solidFill>
                    <a:srgbClr val="242F58"/>
                  </a:solidFill>
                </a:endParaRPr>
              </a:p>
            </p:txBody>
          </p:sp>
          <p:sp>
            <p:nvSpPr>
              <p:cNvPr id="35" name="TextBox 34">
                <a:extLst>
                  <a:ext uri="{FF2B5EF4-FFF2-40B4-BE49-F238E27FC236}">
                    <a16:creationId xmlns:a16="http://schemas.microsoft.com/office/drawing/2014/main" id="{FCFD1BC1-8981-81D5-31E5-F9FD3B7A7930}"/>
                  </a:ext>
                </a:extLst>
              </p:cNvPr>
              <p:cNvSpPr txBox="1"/>
              <p:nvPr/>
            </p:nvSpPr>
            <p:spPr>
              <a:xfrm>
                <a:off x="6809312" y="2534408"/>
                <a:ext cx="1873920" cy="307777"/>
              </a:xfrm>
              <a:prstGeom prst="rect">
                <a:avLst/>
              </a:prstGeom>
              <a:noFill/>
            </p:spPr>
            <p:txBody>
              <a:bodyPr wrap="square">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Number of Tags</a:t>
                </a:r>
                <a:endParaRPr lang="en-BE">
                  <a:solidFill>
                    <a:srgbClr val="242F58"/>
                  </a:solidFill>
                </a:endParaRPr>
              </a:p>
            </p:txBody>
          </p:sp>
          <p:sp>
            <p:nvSpPr>
              <p:cNvPr id="36" name="TextBox 35">
                <a:extLst>
                  <a:ext uri="{FF2B5EF4-FFF2-40B4-BE49-F238E27FC236}">
                    <a16:creationId xmlns:a16="http://schemas.microsoft.com/office/drawing/2014/main" id="{F5C8395A-DF3B-C935-400A-8CBF85F70432}"/>
                  </a:ext>
                </a:extLst>
              </p:cNvPr>
              <p:cNvSpPr txBox="1"/>
              <p:nvPr/>
            </p:nvSpPr>
            <p:spPr>
              <a:xfrm>
                <a:off x="1538990" y="4259957"/>
                <a:ext cx="2204983" cy="307777"/>
              </a:xfrm>
              <a:prstGeom prst="rect">
                <a:avLst/>
              </a:prstGeom>
              <a:noFill/>
            </p:spPr>
            <p:txBody>
              <a:bodyPr wrap="square">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Contains Brand Logo</a:t>
                </a:r>
                <a:endParaRPr lang="en-BE">
                  <a:solidFill>
                    <a:srgbClr val="242F58"/>
                  </a:solidFill>
                </a:endParaRPr>
              </a:p>
            </p:txBody>
          </p:sp>
          <p:sp>
            <p:nvSpPr>
              <p:cNvPr id="37" name="TextBox 36">
                <a:extLst>
                  <a:ext uri="{FF2B5EF4-FFF2-40B4-BE49-F238E27FC236}">
                    <a16:creationId xmlns:a16="http://schemas.microsoft.com/office/drawing/2014/main" id="{C070F662-1252-F124-3551-203254B59757}"/>
                  </a:ext>
                </a:extLst>
              </p:cNvPr>
              <p:cNvSpPr txBox="1"/>
              <p:nvPr/>
            </p:nvSpPr>
            <p:spPr>
              <a:xfrm>
                <a:off x="622087" y="2534407"/>
                <a:ext cx="1873920" cy="307777"/>
              </a:xfrm>
              <a:prstGeom prst="rect">
                <a:avLst/>
              </a:prstGeom>
              <a:noFill/>
            </p:spPr>
            <p:txBody>
              <a:bodyPr wrap="square">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Colourfulness</a:t>
                </a:r>
                <a:endParaRPr lang="en-BE">
                  <a:solidFill>
                    <a:srgbClr val="242F58"/>
                  </a:solidFill>
                </a:endParaRPr>
              </a:p>
            </p:txBody>
          </p:sp>
        </p:grpSp>
        <p:pic>
          <p:nvPicPr>
            <p:cNvPr id="38" name="Picture 7" descr="A logo on a black background&#10;&#10;Description automatically generated">
              <a:extLst>
                <a:ext uri="{FF2B5EF4-FFF2-40B4-BE49-F238E27FC236}">
                  <a16:creationId xmlns:a16="http://schemas.microsoft.com/office/drawing/2014/main" id="{3907F387-41D0-060E-967B-AA32CD07BD7B}"/>
                </a:ext>
              </a:extLst>
            </p:cNvPr>
            <p:cNvPicPr>
              <a:picLocks noChangeAspect="1"/>
            </p:cNvPicPr>
            <p:nvPr/>
          </p:nvPicPr>
          <p:blipFill rotWithShape="1">
            <a:blip r:embed="rId5"/>
            <a:srcRect l="10596" t="38994" r="10322" b="39251"/>
            <a:stretch/>
          </p:blipFill>
          <p:spPr>
            <a:xfrm>
              <a:off x="3825620" y="2588756"/>
              <a:ext cx="1075366" cy="197213"/>
            </a:xfrm>
            <a:prstGeom prst="rect">
              <a:avLst/>
            </a:prstGeom>
          </p:spPr>
        </p:pic>
      </p:grpSp>
    </p:spTree>
    <p:extLst>
      <p:ext uri="{BB962C8B-B14F-4D97-AF65-F5344CB8AC3E}">
        <p14:creationId xmlns:p14="http://schemas.microsoft.com/office/powerpoint/2010/main" val="668032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Our recommendations</a:t>
            </a:r>
          </a:p>
        </p:txBody>
      </p:sp>
      <p:grpSp>
        <p:nvGrpSpPr>
          <p:cNvPr id="24" name="Group 23">
            <a:extLst>
              <a:ext uri="{FF2B5EF4-FFF2-40B4-BE49-F238E27FC236}">
                <a16:creationId xmlns:a16="http://schemas.microsoft.com/office/drawing/2014/main" id="{D1A92514-C3ED-CE6D-4760-918C09C56708}"/>
              </a:ext>
            </a:extLst>
          </p:cNvPr>
          <p:cNvGrpSpPr/>
          <p:nvPr/>
        </p:nvGrpSpPr>
        <p:grpSpPr>
          <a:xfrm>
            <a:off x="-253493" y="641538"/>
            <a:ext cx="4000084" cy="4151364"/>
            <a:chOff x="1456543" y="433439"/>
            <a:chExt cx="4000084" cy="4151364"/>
          </a:xfrm>
        </p:grpSpPr>
        <p:grpSp>
          <p:nvGrpSpPr>
            <p:cNvPr id="18" name="Group 17">
              <a:extLst>
                <a:ext uri="{FF2B5EF4-FFF2-40B4-BE49-F238E27FC236}">
                  <a16:creationId xmlns:a16="http://schemas.microsoft.com/office/drawing/2014/main" id="{55C48026-2AD9-B33B-401F-5BCE202BE624}"/>
                </a:ext>
              </a:extLst>
            </p:cNvPr>
            <p:cNvGrpSpPr/>
            <p:nvPr/>
          </p:nvGrpSpPr>
          <p:grpSpPr>
            <a:xfrm>
              <a:off x="1456543" y="433439"/>
              <a:ext cx="4000084" cy="4151364"/>
              <a:chOff x="677853" y="297973"/>
              <a:chExt cx="4778774" cy="4778774"/>
            </a:xfrm>
          </p:grpSpPr>
          <p:pic>
            <p:nvPicPr>
              <p:cNvPr id="1026" name="Picture 2" descr="Free PSD social media instagram post template">
                <a:extLst>
                  <a:ext uri="{FF2B5EF4-FFF2-40B4-BE49-F238E27FC236}">
                    <a16:creationId xmlns:a16="http://schemas.microsoft.com/office/drawing/2014/main" id="{6B28E566-D7D4-263C-2C66-81205C9914D6}"/>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foregroundMark x1="24601" y1="10064" x2="61182" y2="12460"/>
                            <a14:foregroundMark x1="61182" y1="12460" x2="74601" y2="11661"/>
                            <a14:foregroundMark x1="74601" y1="11661" x2="77476" y2="22204"/>
                            <a14:foregroundMark x1="77476" y1="22204" x2="75719" y2="46965"/>
                            <a14:foregroundMark x1="27636" y1="11182" x2="23642" y2="20927"/>
                            <a14:foregroundMark x1="23642" y1="20927" x2="23323" y2="24441"/>
                            <a14:foregroundMark x1="23962" y1="24441" x2="23802" y2="45847"/>
                            <a14:foregroundMark x1="23802" y1="45847" x2="23802" y2="45847"/>
                            <a14:foregroundMark x1="23962" y1="46486" x2="22524" y2="62460"/>
                            <a14:foregroundMark x1="22524" y1="62460" x2="30032" y2="86102"/>
                            <a14:foregroundMark x1="30032" y1="86102" x2="41054" y2="87700"/>
                          </a14:backgroundRemoval>
                        </a14:imgEffect>
                      </a14:imgLayer>
                    </a14:imgProps>
                  </a:ext>
                  <a:ext uri="{28A0092B-C50C-407E-A947-70E740481C1C}">
                    <a14:useLocalDpi xmlns:a14="http://schemas.microsoft.com/office/drawing/2010/main" val="0"/>
                  </a:ext>
                </a:extLst>
              </a:blip>
              <a:srcRect/>
              <a:stretch>
                <a:fillRect/>
              </a:stretch>
            </p:blipFill>
            <p:spPr bwMode="auto">
              <a:xfrm>
                <a:off x="677853" y="297973"/>
                <a:ext cx="4778774" cy="47787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E05397C-3EC9-DC69-FF30-8E717599DD22}"/>
                  </a:ext>
                </a:extLst>
              </p:cNvPr>
              <p:cNvPicPr>
                <a:picLocks noChangeAspect="1"/>
              </p:cNvPicPr>
              <p:nvPr/>
            </p:nvPicPr>
            <p:blipFill>
              <a:blip r:embed="rId6"/>
              <a:stretch>
                <a:fillRect/>
              </a:stretch>
            </p:blipFill>
            <p:spPr>
              <a:xfrm>
                <a:off x="1781767" y="815827"/>
                <a:ext cx="938459" cy="295160"/>
              </a:xfrm>
              <a:prstGeom prst="rect">
                <a:avLst/>
              </a:prstGeom>
            </p:spPr>
          </p:pic>
          <p:sp>
            <p:nvSpPr>
              <p:cNvPr id="14" name="Rectangle 13">
                <a:extLst>
                  <a:ext uri="{FF2B5EF4-FFF2-40B4-BE49-F238E27FC236}">
                    <a16:creationId xmlns:a16="http://schemas.microsoft.com/office/drawing/2014/main" id="{A5F7B7AA-8185-3214-129B-08267F92BC69}"/>
                  </a:ext>
                </a:extLst>
              </p:cNvPr>
              <p:cNvSpPr/>
              <p:nvPr/>
            </p:nvSpPr>
            <p:spPr>
              <a:xfrm>
                <a:off x="1848080" y="3941284"/>
                <a:ext cx="1759944" cy="148728"/>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6" name="Picture 15">
                <a:extLst>
                  <a:ext uri="{FF2B5EF4-FFF2-40B4-BE49-F238E27FC236}">
                    <a16:creationId xmlns:a16="http://schemas.microsoft.com/office/drawing/2014/main" id="{D479C535-27AF-2E1C-7A59-1773E89AF64E}"/>
                  </a:ext>
                </a:extLst>
              </p:cNvPr>
              <p:cNvPicPr>
                <a:picLocks noChangeAspect="1"/>
              </p:cNvPicPr>
              <p:nvPr/>
            </p:nvPicPr>
            <p:blipFill>
              <a:blip r:embed="rId7"/>
              <a:stretch>
                <a:fillRect/>
              </a:stretch>
            </p:blipFill>
            <p:spPr>
              <a:xfrm>
                <a:off x="1815911" y="3935120"/>
                <a:ext cx="569310" cy="161055"/>
              </a:xfrm>
              <a:prstGeom prst="rect">
                <a:avLst/>
              </a:prstGeom>
            </p:spPr>
          </p:pic>
        </p:grpSp>
        <p:pic>
          <p:nvPicPr>
            <p:cNvPr id="5" name="Picture 4">
              <a:extLst>
                <a:ext uri="{FF2B5EF4-FFF2-40B4-BE49-F238E27FC236}">
                  <a16:creationId xmlns:a16="http://schemas.microsoft.com/office/drawing/2014/main" id="{C00E5173-4ADC-5B8A-1EAC-70DC9074A1D8}"/>
                </a:ext>
              </a:extLst>
            </p:cNvPr>
            <p:cNvPicPr>
              <a:picLocks noChangeAspect="1"/>
            </p:cNvPicPr>
            <p:nvPr/>
          </p:nvPicPr>
          <p:blipFill rotWithShape="1">
            <a:blip r:embed="rId8"/>
            <a:srcRect l="5977" t="8926" r="9791" b="7599"/>
            <a:stretch/>
          </p:blipFill>
          <p:spPr>
            <a:xfrm>
              <a:off x="2455882" y="1162106"/>
              <a:ext cx="2030199" cy="2096442"/>
            </a:xfrm>
            <a:prstGeom prst="rect">
              <a:avLst/>
            </a:prstGeom>
          </p:spPr>
        </p:pic>
      </p:grpSp>
      <p:grpSp>
        <p:nvGrpSpPr>
          <p:cNvPr id="32" name="Group 31">
            <a:extLst>
              <a:ext uri="{FF2B5EF4-FFF2-40B4-BE49-F238E27FC236}">
                <a16:creationId xmlns:a16="http://schemas.microsoft.com/office/drawing/2014/main" id="{AFA1573E-D77F-1477-0A37-FEA8B2C6CD4A}"/>
              </a:ext>
            </a:extLst>
          </p:cNvPr>
          <p:cNvGrpSpPr/>
          <p:nvPr/>
        </p:nvGrpSpPr>
        <p:grpSpPr>
          <a:xfrm>
            <a:off x="2606530" y="641538"/>
            <a:ext cx="4000084" cy="4151364"/>
            <a:chOff x="2636011" y="661549"/>
            <a:chExt cx="4000084" cy="4151364"/>
          </a:xfrm>
        </p:grpSpPr>
        <p:grpSp>
          <p:nvGrpSpPr>
            <p:cNvPr id="19" name="Group 18">
              <a:extLst>
                <a:ext uri="{FF2B5EF4-FFF2-40B4-BE49-F238E27FC236}">
                  <a16:creationId xmlns:a16="http://schemas.microsoft.com/office/drawing/2014/main" id="{E0C3C502-411B-D3CD-34F9-D5FC04047847}"/>
                </a:ext>
              </a:extLst>
            </p:cNvPr>
            <p:cNvGrpSpPr/>
            <p:nvPr/>
          </p:nvGrpSpPr>
          <p:grpSpPr>
            <a:xfrm>
              <a:off x="2636011" y="661549"/>
              <a:ext cx="4000084" cy="4151364"/>
              <a:chOff x="677853" y="297973"/>
              <a:chExt cx="4778774" cy="4778774"/>
            </a:xfrm>
          </p:grpSpPr>
          <p:pic>
            <p:nvPicPr>
              <p:cNvPr id="20" name="Picture 2" descr="Free PSD social media instagram post template">
                <a:extLst>
                  <a:ext uri="{FF2B5EF4-FFF2-40B4-BE49-F238E27FC236}">
                    <a16:creationId xmlns:a16="http://schemas.microsoft.com/office/drawing/2014/main" id="{4BA90094-C293-A1CE-C4EB-467BA7E5C6B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foregroundMark x1="24601" y1="10064" x2="61182" y2="12460"/>
                            <a14:foregroundMark x1="61182" y1="12460" x2="74601" y2="11661"/>
                            <a14:foregroundMark x1="74601" y1="11661" x2="77476" y2="22204"/>
                            <a14:foregroundMark x1="77476" y1="22204" x2="75719" y2="46965"/>
                            <a14:foregroundMark x1="27636" y1="11182" x2="23642" y2="20927"/>
                            <a14:foregroundMark x1="23642" y1="20927" x2="23323" y2="24441"/>
                            <a14:foregroundMark x1="23962" y1="24441" x2="23802" y2="45847"/>
                            <a14:foregroundMark x1="23802" y1="45847" x2="23802" y2="45847"/>
                            <a14:foregroundMark x1="23962" y1="46486" x2="22524" y2="62460"/>
                            <a14:foregroundMark x1="22524" y1="62460" x2="30032" y2="86102"/>
                            <a14:foregroundMark x1="30032" y1="86102" x2="41054" y2="87700"/>
                          </a14:backgroundRemoval>
                        </a14:imgEffect>
                      </a14:imgLayer>
                    </a14:imgProps>
                  </a:ext>
                  <a:ext uri="{28A0092B-C50C-407E-A947-70E740481C1C}">
                    <a14:useLocalDpi xmlns:a14="http://schemas.microsoft.com/office/drawing/2010/main" val="0"/>
                  </a:ext>
                </a:extLst>
              </a:blip>
              <a:srcRect/>
              <a:stretch>
                <a:fillRect/>
              </a:stretch>
            </p:blipFill>
            <p:spPr bwMode="auto">
              <a:xfrm>
                <a:off x="677853" y="297973"/>
                <a:ext cx="4778774" cy="477877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F9C1A707-3674-3FB8-361C-CA1849C47457}"/>
                  </a:ext>
                </a:extLst>
              </p:cNvPr>
              <p:cNvPicPr>
                <a:picLocks noChangeAspect="1"/>
              </p:cNvPicPr>
              <p:nvPr/>
            </p:nvPicPr>
            <p:blipFill>
              <a:blip r:embed="rId6"/>
              <a:stretch>
                <a:fillRect/>
              </a:stretch>
            </p:blipFill>
            <p:spPr>
              <a:xfrm>
                <a:off x="1781767" y="815827"/>
                <a:ext cx="938459" cy="295160"/>
              </a:xfrm>
              <a:prstGeom prst="rect">
                <a:avLst/>
              </a:prstGeom>
            </p:spPr>
          </p:pic>
          <p:sp>
            <p:nvSpPr>
              <p:cNvPr id="22" name="Rectangle 21">
                <a:extLst>
                  <a:ext uri="{FF2B5EF4-FFF2-40B4-BE49-F238E27FC236}">
                    <a16:creationId xmlns:a16="http://schemas.microsoft.com/office/drawing/2014/main" id="{6FF811DF-B3EF-DFC9-8DFB-369BDD0994B2}"/>
                  </a:ext>
                </a:extLst>
              </p:cNvPr>
              <p:cNvSpPr/>
              <p:nvPr/>
            </p:nvSpPr>
            <p:spPr>
              <a:xfrm>
                <a:off x="1848080" y="3941284"/>
                <a:ext cx="1759944" cy="148728"/>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3" name="Picture 22">
                <a:extLst>
                  <a:ext uri="{FF2B5EF4-FFF2-40B4-BE49-F238E27FC236}">
                    <a16:creationId xmlns:a16="http://schemas.microsoft.com/office/drawing/2014/main" id="{976012F9-AF2D-543B-30A6-F93D1FB03615}"/>
                  </a:ext>
                </a:extLst>
              </p:cNvPr>
              <p:cNvPicPr>
                <a:picLocks noChangeAspect="1"/>
              </p:cNvPicPr>
              <p:nvPr/>
            </p:nvPicPr>
            <p:blipFill>
              <a:blip r:embed="rId7"/>
              <a:stretch>
                <a:fillRect/>
              </a:stretch>
            </p:blipFill>
            <p:spPr>
              <a:xfrm>
                <a:off x="1815911" y="3935120"/>
                <a:ext cx="569310" cy="161055"/>
              </a:xfrm>
              <a:prstGeom prst="rect">
                <a:avLst/>
              </a:prstGeom>
            </p:spPr>
          </p:pic>
        </p:grpSp>
        <p:pic>
          <p:nvPicPr>
            <p:cNvPr id="7" name="Picture 6">
              <a:extLst>
                <a:ext uri="{FF2B5EF4-FFF2-40B4-BE49-F238E27FC236}">
                  <a16:creationId xmlns:a16="http://schemas.microsoft.com/office/drawing/2014/main" id="{E368EFB7-D9FC-7A46-3AE3-3CB97C570043}"/>
                </a:ext>
              </a:extLst>
            </p:cNvPr>
            <p:cNvPicPr>
              <a:picLocks noChangeAspect="1"/>
            </p:cNvPicPr>
            <p:nvPr/>
          </p:nvPicPr>
          <p:blipFill>
            <a:blip r:embed="rId9"/>
            <a:stretch>
              <a:fillRect/>
            </a:stretch>
          </p:blipFill>
          <p:spPr>
            <a:xfrm>
              <a:off x="3635350" y="1400834"/>
              <a:ext cx="2030199" cy="2085823"/>
            </a:xfrm>
            <a:prstGeom prst="rect">
              <a:avLst/>
            </a:prstGeom>
          </p:spPr>
        </p:pic>
        <p:sp>
          <p:nvSpPr>
            <p:cNvPr id="25" name="Oval 24">
              <a:extLst>
                <a:ext uri="{FF2B5EF4-FFF2-40B4-BE49-F238E27FC236}">
                  <a16:creationId xmlns:a16="http://schemas.microsoft.com/office/drawing/2014/main" id="{F53773EE-CDD3-F135-19A7-997D520FBC38}"/>
                </a:ext>
              </a:extLst>
            </p:cNvPr>
            <p:cNvSpPr/>
            <p:nvPr/>
          </p:nvSpPr>
          <p:spPr>
            <a:xfrm rot="19142793">
              <a:off x="3806329" y="2624459"/>
              <a:ext cx="539393" cy="744535"/>
            </a:xfrm>
            <a:prstGeom prst="ellipse">
              <a:avLst/>
            </a:prstGeom>
            <a:noFill/>
            <a:ln w="95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grpSp>
        <p:nvGrpSpPr>
          <p:cNvPr id="33" name="Group 32">
            <a:extLst>
              <a:ext uri="{FF2B5EF4-FFF2-40B4-BE49-F238E27FC236}">
                <a16:creationId xmlns:a16="http://schemas.microsoft.com/office/drawing/2014/main" id="{B2E96D18-F5BC-E586-7F66-DF2794C8D702}"/>
              </a:ext>
            </a:extLst>
          </p:cNvPr>
          <p:cNvGrpSpPr/>
          <p:nvPr/>
        </p:nvGrpSpPr>
        <p:grpSpPr>
          <a:xfrm>
            <a:off x="5523598" y="641538"/>
            <a:ext cx="4000084" cy="4151364"/>
            <a:chOff x="5489026" y="661549"/>
            <a:chExt cx="4000084" cy="4151364"/>
          </a:xfrm>
        </p:grpSpPr>
        <p:grpSp>
          <p:nvGrpSpPr>
            <p:cNvPr id="27" name="Group 26">
              <a:extLst>
                <a:ext uri="{FF2B5EF4-FFF2-40B4-BE49-F238E27FC236}">
                  <a16:creationId xmlns:a16="http://schemas.microsoft.com/office/drawing/2014/main" id="{6851484B-235F-26CD-AE39-87C43DD73DFD}"/>
                </a:ext>
              </a:extLst>
            </p:cNvPr>
            <p:cNvGrpSpPr/>
            <p:nvPr/>
          </p:nvGrpSpPr>
          <p:grpSpPr>
            <a:xfrm>
              <a:off x="5489026" y="661549"/>
              <a:ext cx="4000084" cy="4151364"/>
              <a:chOff x="677853" y="297973"/>
              <a:chExt cx="4778774" cy="4778774"/>
            </a:xfrm>
          </p:grpSpPr>
          <p:pic>
            <p:nvPicPr>
              <p:cNvPr id="28" name="Picture 2" descr="Free PSD social media instagram post template">
                <a:extLst>
                  <a:ext uri="{FF2B5EF4-FFF2-40B4-BE49-F238E27FC236}">
                    <a16:creationId xmlns:a16="http://schemas.microsoft.com/office/drawing/2014/main" id="{C571DE4D-785A-603E-4852-BB0270EC03D8}"/>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foregroundMark x1="24601" y1="10064" x2="61182" y2="12460"/>
                            <a14:foregroundMark x1="61182" y1="12460" x2="74601" y2="11661"/>
                            <a14:foregroundMark x1="74601" y1="11661" x2="77476" y2="22204"/>
                            <a14:foregroundMark x1="77476" y1="22204" x2="75719" y2="46965"/>
                            <a14:foregroundMark x1="27636" y1="11182" x2="23642" y2="20927"/>
                            <a14:foregroundMark x1="23642" y1="20927" x2="23323" y2="24441"/>
                            <a14:foregroundMark x1="23962" y1="24441" x2="23802" y2="45847"/>
                            <a14:foregroundMark x1="23802" y1="45847" x2="23802" y2="45847"/>
                            <a14:foregroundMark x1="23962" y1="46486" x2="22524" y2="62460"/>
                            <a14:foregroundMark x1="22524" y1="62460" x2="30032" y2="86102"/>
                            <a14:foregroundMark x1="30032" y1="86102" x2="41054" y2="87700"/>
                          </a14:backgroundRemoval>
                        </a14:imgEffect>
                      </a14:imgLayer>
                    </a14:imgProps>
                  </a:ext>
                  <a:ext uri="{28A0092B-C50C-407E-A947-70E740481C1C}">
                    <a14:useLocalDpi xmlns:a14="http://schemas.microsoft.com/office/drawing/2010/main" val="0"/>
                  </a:ext>
                </a:extLst>
              </a:blip>
              <a:srcRect/>
              <a:stretch>
                <a:fillRect/>
              </a:stretch>
            </p:blipFill>
            <p:spPr bwMode="auto">
              <a:xfrm>
                <a:off x="677853" y="297973"/>
                <a:ext cx="4778774" cy="47787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8100F5DE-756C-F46B-8993-E469229DD988}"/>
                  </a:ext>
                </a:extLst>
              </p:cNvPr>
              <p:cNvPicPr>
                <a:picLocks noChangeAspect="1"/>
              </p:cNvPicPr>
              <p:nvPr/>
            </p:nvPicPr>
            <p:blipFill>
              <a:blip r:embed="rId6"/>
              <a:stretch>
                <a:fillRect/>
              </a:stretch>
            </p:blipFill>
            <p:spPr>
              <a:xfrm>
                <a:off x="1781767" y="815827"/>
                <a:ext cx="938459" cy="295160"/>
              </a:xfrm>
              <a:prstGeom prst="rect">
                <a:avLst/>
              </a:prstGeom>
            </p:spPr>
          </p:pic>
          <p:sp>
            <p:nvSpPr>
              <p:cNvPr id="30" name="Rectangle 29">
                <a:extLst>
                  <a:ext uri="{FF2B5EF4-FFF2-40B4-BE49-F238E27FC236}">
                    <a16:creationId xmlns:a16="http://schemas.microsoft.com/office/drawing/2014/main" id="{FFECFEB1-67F4-F0FB-0C30-4A2E2DF43544}"/>
                  </a:ext>
                </a:extLst>
              </p:cNvPr>
              <p:cNvSpPr/>
              <p:nvPr/>
            </p:nvSpPr>
            <p:spPr>
              <a:xfrm>
                <a:off x="1848080" y="3941284"/>
                <a:ext cx="1759944" cy="148728"/>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1" name="Picture 30">
                <a:extLst>
                  <a:ext uri="{FF2B5EF4-FFF2-40B4-BE49-F238E27FC236}">
                    <a16:creationId xmlns:a16="http://schemas.microsoft.com/office/drawing/2014/main" id="{CD7CB19C-2B70-570C-534C-CC2EEEFB5946}"/>
                  </a:ext>
                </a:extLst>
              </p:cNvPr>
              <p:cNvPicPr>
                <a:picLocks noChangeAspect="1"/>
              </p:cNvPicPr>
              <p:nvPr/>
            </p:nvPicPr>
            <p:blipFill>
              <a:blip r:embed="rId7"/>
              <a:stretch>
                <a:fillRect/>
              </a:stretch>
            </p:blipFill>
            <p:spPr>
              <a:xfrm>
                <a:off x="1815911" y="3935120"/>
                <a:ext cx="569310" cy="161055"/>
              </a:xfrm>
              <a:prstGeom prst="rect">
                <a:avLst/>
              </a:prstGeom>
            </p:spPr>
          </p:pic>
        </p:grpSp>
        <p:pic>
          <p:nvPicPr>
            <p:cNvPr id="11" name="Picture 10">
              <a:extLst>
                <a:ext uri="{FF2B5EF4-FFF2-40B4-BE49-F238E27FC236}">
                  <a16:creationId xmlns:a16="http://schemas.microsoft.com/office/drawing/2014/main" id="{9ACA65D7-E1F8-F1E7-24FB-7FABA3C22094}"/>
                </a:ext>
              </a:extLst>
            </p:cNvPr>
            <p:cNvPicPr>
              <a:picLocks noChangeAspect="1"/>
            </p:cNvPicPr>
            <p:nvPr/>
          </p:nvPicPr>
          <p:blipFill>
            <a:blip r:embed="rId10"/>
            <a:stretch>
              <a:fillRect/>
            </a:stretch>
          </p:blipFill>
          <p:spPr>
            <a:xfrm>
              <a:off x="6479847" y="1400834"/>
              <a:ext cx="2030199" cy="2085823"/>
            </a:xfrm>
            <a:prstGeom prst="rect">
              <a:avLst/>
            </a:prstGeom>
          </p:spPr>
        </p:pic>
      </p:grpSp>
      <p:sp>
        <p:nvSpPr>
          <p:cNvPr id="34" name="TextBox 33">
            <a:extLst>
              <a:ext uri="{FF2B5EF4-FFF2-40B4-BE49-F238E27FC236}">
                <a16:creationId xmlns:a16="http://schemas.microsoft.com/office/drawing/2014/main" id="{B362BBFC-3589-78F1-E5AB-3DCDFC9D12D2}"/>
              </a:ext>
            </a:extLst>
          </p:cNvPr>
          <p:cNvSpPr txBox="1"/>
          <p:nvPr/>
        </p:nvSpPr>
        <p:spPr>
          <a:xfrm>
            <a:off x="648134" y="4212290"/>
            <a:ext cx="2193511" cy="646331"/>
          </a:xfrm>
          <a:prstGeom prst="rect">
            <a:avLst/>
          </a:prstGeom>
          <a:noFill/>
        </p:spPr>
        <p:txBody>
          <a:bodyPr wrap="square">
            <a:spAutoFit/>
          </a:bodyPr>
          <a:lstStyle/>
          <a:p>
            <a:pPr lvl="0" algn="ctr">
              <a:lnSpc>
                <a:spcPct val="100000"/>
              </a:lnSpc>
              <a:defRPr cap="all"/>
            </a:pP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post MORE </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pictures</a:t>
            </a: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 with a Visible</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 brand logo </a:t>
            </a: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and </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planes</a:t>
            </a:r>
          </a:p>
        </p:txBody>
      </p:sp>
      <p:sp>
        <p:nvSpPr>
          <p:cNvPr id="36" name="TextBox 35">
            <a:extLst>
              <a:ext uri="{FF2B5EF4-FFF2-40B4-BE49-F238E27FC236}">
                <a16:creationId xmlns:a16="http://schemas.microsoft.com/office/drawing/2014/main" id="{3248D539-A692-B146-EDB1-94D15A527D1C}"/>
              </a:ext>
            </a:extLst>
          </p:cNvPr>
          <p:cNvSpPr txBox="1"/>
          <p:nvPr/>
        </p:nvSpPr>
        <p:spPr>
          <a:xfrm>
            <a:off x="3421071" y="4304622"/>
            <a:ext cx="2410971" cy="461665"/>
          </a:xfrm>
          <a:prstGeom prst="rect">
            <a:avLst/>
          </a:prstGeom>
          <a:noFill/>
        </p:spPr>
        <p:txBody>
          <a:bodyPr wrap="square">
            <a:spAutoFit/>
          </a:bodyPr>
          <a:lstStyle/>
          <a:p>
            <a:pPr lvl="0" algn="ctr">
              <a:lnSpc>
                <a:spcPct val="100000"/>
              </a:lnSpc>
              <a:defRPr cap="all"/>
            </a:pP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Remember to </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tag users </a:t>
            </a:r>
            <a:r>
              <a:rPr lang="en-GB" sz="1200" noProof="0">
                <a:solidFill>
                  <a:srgbClr val="0A1D3D"/>
                </a:solidFill>
                <a:latin typeface="Tahoma" panose="020B0604030504040204" pitchFamily="34" charset="0"/>
                <a:ea typeface="Tahoma" panose="020B0604030504040204" pitchFamily="34" charset="0"/>
                <a:cs typeface="Tahoma" panose="020B0604030504040204" pitchFamily="34" charset="0"/>
              </a:rPr>
              <a:t>to</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 highlight their work</a:t>
            </a:r>
            <a:endPar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8" name="TextBox 37">
            <a:extLst>
              <a:ext uri="{FF2B5EF4-FFF2-40B4-BE49-F238E27FC236}">
                <a16:creationId xmlns:a16="http://schemas.microsoft.com/office/drawing/2014/main" id="{A5030F50-1514-E7D2-6B82-5931D89AC61A}"/>
              </a:ext>
            </a:extLst>
          </p:cNvPr>
          <p:cNvSpPr txBox="1"/>
          <p:nvPr/>
        </p:nvSpPr>
        <p:spPr>
          <a:xfrm>
            <a:off x="6315778" y="4212290"/>
            <a:ext cx="2486099" cy="646331"/>
          </a:xfrm>
          <a:prstGeom prst="rect">
            <a:avLst/>
          </a:prstGeom>
          <a:noFill/>
        </p:spPr>
        <p:txBody>
          <a:bodyPr wrap="square">
            <a:spAutoFit/>
          </a:bodyPr>
          <a:lstStyle/>
          <a:p>
            <a:pPr lvl="0" algn="ctr">
              <a:lnSpc>
                <a:spcPct val="100000"/>
              </a:lnSpc>
              <a:defRPr cap="all"/>
            </a:pP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Incorporate less colour </a:t>
            </a: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into your </a:t>
            </a:r>
            <a:r>
              <a:rPr lang="en-GB" sz="1200" b="1" noProof="0">
                <a:solidFill>
                  <a:srgbClr val="0A1D3D"/>
                </a:solidFill>
                <a:latin typeface="Tahoma" panose="020B0604030504040204" pitchFamily="34" charset="0"/>
                <a:ea typeface="Tahoma" panose="020B0604030504040204" pitchFamily="34" charset="0"/>
                <a:cs typeface="Tahoma" panose="020B0604030504040204" pitchFamily="34" charset="0"/>
              </a:rPr>
              <a:t>photos</a:t>
            </a: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 </a:t>
            </a:r>
            <a:r>
              <a:rPr lang="en-GB" sz="1200">
                <a:solidFill>
                  <a:srgbClr val="0A1D3D"/>
                </a:solidFill>
                <a:latin typeface="Tahoma" panose="020B0604030504040204" pitchFamily="34" charset="0"/>
                <a:ea typeface="Tahoma" panose="020B0604030504040204" pitchFamily="34" charset="0"/>
                <a:cs typeface="Tahoma" panose="020B0604030504040204" pitchFamily="34" charset="0"/>
              </a:rPr>
              <a:t>NOT TO</a:t>
            </a:r>
            <a:r>
              <a:rPr lang="en-GB" sz="1200" b="0" noProof="0">
                <a:solidFill>
                  <a:srgbClr val="0A1D3D"/>
                </a:solidFill>
                <a:latin typeface="Tahoma" panose="020B0604030504040204" pitchFamily="34" charset="0"/>
                <a:ea typeface="Tahoma" panose="020B0604030504040204" pitchFamily="34" charset="0"/>
                <a:cs typeface="Tahoma" panose="020B0604030504040204" pitchFamily="34" charset="0"/>
              </a:rPr>
              <a:t> overwhelm your audience</a:t>
            </a:r>
          </a:p>
        </p:txBody>
      </p:sp>
    </p:spTree>
    <p:extLst>
      <p:ext uri="{BB962C8B-B14F-4D97-AF65-F5344CB8AC3E}">
        <p14:creationId xmlns:p14="http://schemas.microsoft.com/office/powerpoint/2010/main" val="2478924740"/>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solidFill>
                  <a:srgbClr val="0A1D3D"/>
                </a:solidFill>
              </a:rPr>
              <a:t>FURTHER STEPS </a:t>
            </a:r>
          </a:p>
        </p:txBody>
      </p:sp>
      <p:grpSp>
        <p:nvGrpSpPr>
          <p:cNvPr id="12" name="Group 11">
            <a:extLst>
              <a:ext uri="{FF2B5EF4-FFF2-40B4-BE49-F238E27FC236}">
                <a16:creationId xmlns:a16="http://schemas.microsoft.com/office/drawing/2014/main" id="{EB455925-C95F-8962-EBF1-FAE2FEF34BB9}"/>
              </a:ext>
            </a:extLst>
          </p:cNvPr>
          <p:cNvGrpSpPr/>
          <p:nvPr/>
        </p:nvGrpSpPr>
        <p:grpSpPr>
          <a:xfrm>
            <a:off x="420660" y="2492433"/>
            <a:ext cx="4522409" cy="1391500"/>
            <a:chOff x="3506278" y="2123861"/>
            <a:chExt cx="4522409" cy="1391500"/>
          </a:xfrm>
        </p:grpSpPr>
        <p:pic>
          <p:nvPicPr>
            <p:cNvPr id="1026" name="Picture 2" descr="TikTok Logo and symbol, meaning, history, PNG, brand">
              <a:extLst>
                <a:ext uri="{FF2B5EF4-FFF2-40B4-BE49-F238E27FC236}">
                  <a16:creationId xmlns:a16="http://schemas.microsoft.com/office/drawing/2014/main" id="{91D3C999-CABC-AE68-CD81-2EE4A5D248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709" r="18315"/>
            <a:stretch/>
          </p:blipFill>
          <p:spPr bwMode="auto">
            <a:xfrm>
              <a:off x="3506278" y="2123861"/>
              <a:ext cx="1402080" cy="13915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4326C1E-4979-16D8-98B0-A967E154DD2B}"/>
                </a:ext>
              </a:extLst>
            </p:cNvPr>
            <p:cNvPicPr>
              <a:picLocks noChangeAspect="1"/>
            </p:cNvPicPr>
            <p:nvPr/>
          </p:nvPicPr>
          <p:blipFill>
            <a:blip r:embed="rId4"/>
            <a:stretch>
              <a:fillRect/>
            </a:stretch>
          </p:blipFill>
          <p:spPr>
            <a:xfrm>
              <a:off x="6701059" y="2123861"/>
              <a:ext cx="1327628" cy="1391500"/>
            </a:xfrm>
            <a:prstGeom prst="rect">
              <a:avLst/>
            </a:prstGeom>
          </p:spPr>
        </p:pic>
      </p:grpSp>
      <p:sp>
        <p:nvSpPr>
          <p:cNvPr id="11" name="TextBox 10">
            <a:extLst>
              <a:ext uri="{FF2B5EF4-FFF2-40B4-BE49-F238E27FC236}">
                <a16:creationId xmlns:a16="http://schemas.microsoft.com/office/drawing/2014/main" id="{04C83774-D982-29AF-CEDD-D50DC04C63B6}"/>
              </a:ext>
            </a:extLst>
          </p:cNvPr>
          <p:cNvSpPr txBox="1"/>
          <p:nvPr/>
        </p:nvSpPr>
        <p:spPr>
          <a:xfrm>
            <a:off x="148078" y="1247318"/>
            <a:ext cx="5053842" cy="1061829"/>
          </a:xfrm>
          <a:prstGeom prst="rect">
            <a:avLst/>
          </a:prstGeom>
          <a:noFill/>
        </p:spPr>
        <p:txBody>
          <a:bodyPr wrap="square">
            <a:spAutoFit/>
          </a:bodyPr>
          <a:lstStyle/>
          <a:p>
            <a:pPr algn="ctr">
              <a:spcAft>
                <a:spcPts val="600"/>
              </a:spcAft>
            </a:pPr>
            <a:r>
              <a:rPr lang="nl-NL" sz="2000" b="1">
                <a:solidFill>
                  <a:srgbClr val="0F1A42"/>
                </a:solidFill>
                <a:latin typeface="Tahoma" panose="020B0604030504040204" pitchFamily="34" charset="0"/>
                <a:ea typeface="Tahoma" panose="020B0604030504040204" pitchFamily="34" charset="0"/>
                <a:cs typeface="Tahoma" panose="020B0604030504040204" pitchFamily="34" charset="0"/>
              </a:rPr>
              <a:t>New </a:t>
            </a:r>
            <a:r>
              <a:rPr lang="nl-NL" sz="2000" b="1" err="1">
                <a:solidFill>
                  <a:srgbClr val="0F1A42"/>
                </a:solidFill>
                <a:latin typeface="Tahoma" panose="020B0604030504040204" pitchFamily="34" charset="0"/>
                <a:ea typeface="Tahoma" panose="020B0604030504040204" pitchFamily="34" charset="0"/>
                <a:cs typeface="Tahoma" panose="020B0604030504040204" pitchFamily="34" charset="0"/>
              </a:rPr>
              <a:t>forms</a:t>
            </a:r>
            <a:r>
              <a:rPr lang="nl-NL" sz="2000" b="1">
                <a:solidFill>
                  <a:srgbClr val="0F1A42"/>
                </a:solidFill>
                <a:latin typeface="Tahoma" panose="020B0604030504040204" pitchFamily="34" charset="0"/>
                <a:ea typeface="Tahoma" panose="020B0604030504040204" pitchFamily="34" charset="0"/>
                <a:cs typeface="Tahoma" panose="020B0604030504040204" pitchFamily="34" charset="0"/>
              </a:rPr>
              <a:t> of </a:t>
            </a:r>
            <a:r>
              <a:rPr lang="nl-NL" sz="2000" b="1" err="1">
                <a:solidFill>
                  <a:srgbClr val="0F1A42"/>
                </a:solidFill>
                <a:latin typeface="Tahoma" panose="020B0604030504040204" pitchFamily="34" charset="0"/>
                <a:ea typeface="Tahoma" panose="020B0604030504040204" pitchFamily="34" charset="0"/>
                <a:cs typeface="Tahoma" panose="020B0604030504040204" pitchFamily="34" charset="0"/>
              </a:rPr>
              <a:t>social</a:t>
            </a:r>
            <a:r>
              <a:rPr lang="nl-NL" sz="2000" b="1">
                <a:solidFill>
                  <a:srgbClr val="0F1A42"/>
                </a:solidFill>
                <a:latin typeface="Tahoma" panose="020B0604030504040204" pitchFamily="34" charset="0"/>
                <a:ea typeface="Tahoma" panose="020B0604030504040204" pitchFamily="34" charset="0"/>
                <a:cs typeface="Tahoma" panose="020B0604030504040204" pitchFamily="34" charset="0"/>
              </a:rPr>
              <a:t> media</a:t>
            </a:r>
          </a:p>
          <a:p>
            <a:pPr algn="ct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Provide</a:t>
            </a: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us</a:t>
            </a: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with</a:t>
            </a: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data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regarding</a:t>
            </a:r>
            <a:endParaRPr lang="nl-NL" b="1">
              <a:solidFill>
                <a:srgbClr val="0F1A42"/>
              </a:solidFill>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TikTok</a:t>
            </a: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Instagram </a:t>
            </a:r>
            <a:r>
              <a:rPr lang="nl-NL" b="1" err="1">
                <a:solidFill>
                  <a:srgbClr val="0F1A42"/>
                </a:solidFill>
                <a:latin typeface="Tahoma" panose="020B0604030504040204" pitchFamily="34" charset="0"/>
                <a:ea typeface="Tahoma" panose="020B0604030504040204" pitchFamily="34" charset="0"/>
                <a:cs typeface="Tahoma" panose="020B0604030504040204" pitchFamily="34" charset="0"/>
              </a:rPr>
              <a:t>Stories</a:t>
            </a:r>
            <a:r>
              <a:rPr lang="nl-NL" b="1">
                <a:solidFill>
                  <a:srgbClr val="0F1A42"/>
                </a:solidFill>
                <a:latin typeface="Tahoma" panose="020B0604030504040204" pitchFamily="34" charset="0"/>
                <a:ea typeface="Tahoma" panose="020B0604030504040204" pitchFamily="34" charset="0"/>
                <a:cs typeface="Tahoma" panose="020B0604030504040204" pitchFamily="34" charset="0"/>
              </a:rPr>
              <a:t>     Instagram Reels</a:t>
            </a:r>
            <a:endParaRPr lang="en-GB">
              <a:solidFill>
                <a:srgbClr val="0F1A42"/>
              </a:solidFill>
            </a:endParaRPr>
          </a:p>
        </p:txBody>
      </p:sp>
      <p:sp>
        <p:nvSpPr>
          <p:cNvPr id="8" name="TextBox 7">
            <a:extLst>
              <a:ext uri="{FF2B5EF4-FFF2-40B4-BE49-F238E27FC236}">
                <a16:creationId xmlns:a16="http://schemas.microsoft.com/office/drawing/2014/main" id="{51DDE39C-D68B-165C-5184-4636D99B4770}"/>
              </a:ext>
            </a:extLst>
          </p:cNvPr>
          <p:cNvSpPr txBox="1"/>
          <p:nvPr/>
        </p:nvSpPr>
        <p:spPr>
          <a:xfrm>
            <a:off x="4485606" y="1300792"/>
            <a:ext cx="5053842" cy="784830"/>
          </a:xfrm>
          <a:prstGeom prst="rect">
            <a:avLst/>
          </a:prstGeom>
          <a:noFill/>
        </p:spPr>
        <p:txBody>
          <a:bodyPr wrap="square">
            <a:spAutoFit/>
          </a:bodyPr>
          <a:lstStyle/>
          <a:p>
            <a:pPr algn="ctr">
              <a:spcAft>
                <a:spcPts val="600"/>
              </a:spcAft>
            </a:pPr>
            <a:r>
              <a:rPr lang="nl-NL" sz="2000" b="1">
                <a:solidFill>
                  <a:srgbClr val="0F1A42"/>
                </a:solidFill>
                <a:latin typeface="Tahoma" panose="020B0604030504040204" pitchFamily="34" charset="0"/>
                <a:ea typeface="Tahoma" panose="020B0604030504040204" pitchFamily="34" charset="0"/>
                <a:cs typeface="Tahoma" panose="020B0604030504040204" pitchFamily="34" charset="0"/>
              </a:rPr>
              <a:t>Analyse impact</a:t>
            </a:r>
          </a:p>
          <a:p>
            <a:pPr algn="ctr">
              <a:spcAft>
                <a:spcPts val="600"/>
              </a:spcAft>
            </a:pPr>
            <a:r>
              <a:rPr lang="nl-NL" sz="2000" b="1" err="1">
                <a:solidFill>
                  <a:srgbClr val="0F1A42"/>
                </a:solidFill>
                <a:latin typeface="Tahoma" panose="020B0604030504040204" pitchFamily="34" charset="0"/>
                <a:ea typeface="Tahoma" panose="020B0604030504040204" pitchFamily="34" charset="0"/>
                <a:cs typeface="Tahoma" panose="020B0604030504040204" pitchFamily="34" charset="0"/>
              </a:rPr>
              <a:t>influencer</a:t>
            </a:r>
            <a:r>
              <a:rPr lang="nl-NL" sz="2000"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NL" sz="2000" b="1" err="1">
                <a:solidFill>
                  <a:srgbClr val="0F1A42"/>
                </a:solidFill>
                <a:latin typeface="Tahoma" panose="020B0604030504040204" pitchFamily="34" charset="0"/>
                <a:ea typeface="Tahoma" panose="020B0604030504040204" pitchFamily="34" charset="0"/>
                <a:cs typeface="Tahoma" panose="020B0604030504040204" pitchFamily="34" charset="0"/>
              </a:rPr>
              <a:t>posts</a:t>
            </a:r>
            <a:endParaRPr lang="en-GB">
              <a:solidFill>
                <a:srgbClr val="0F1A42"/>
              </a:solidFill>
            </a:endParaRPr>
          </a:p>
        </p:txBody>
      </p:sp>
      <p:grpSp>
        <p:nvGrpSpPr>
          <p:cNvPr id="22" name="Group 21">
            <a:extLst>
              <a:ext uri="{FF2B5EF4-FFF2-40B4-BE49-F238E27FC236}">
                <a16:creationId xmlns:a16="http://schemas.microsoft.com/office/drawing/2014/main" id="{205C2E17-9F1A-1C78-0355-A8445F9E4832}"/>
              </a:ext>
            </a:extLst>
          </p:cNvPr>
          <p:cNvGrpSpPr/>
          <p:nvPr/>
        </p:nvGrpSpPr>
        <p:grpSpPr>
          <a:xfrm>
            <a:off x="5457107" y="2492433"/>
            <a:ext cx="3078183" cy="1420292"/>
            <a:chOff x="5671517" y="2463641"/>
            <a:chExt cx="3078183" cy="1420292"/>
          </a:xfrm>
        </p:grpSpPr>
        <p:pic>
          <p:nvPicPr>
            <p:cNvPr id="10" name="Graphic 9" descr="Selfie Stick with solid fill">
              <a:extLst>
                <a:ext uri="{FF2B5EF4-FFF2-40B4-BE49-F238E27FC236}">
                  <a16:creationId xmlns:a16="http://schemas.microsoft.com/office/drawing/2014/main" id="{1D944290-EC3F-ACC3-C72E-45D386AA73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71517" y="2492433"/>
              <a:ext cx="1391500" cy="1391500"/>
            </a:xfrm>
            <a:prstGeom prst="rect">
              <a:avLst/>
            </a:prstGeom>
          </p:spPr>
        </p:pic>
        <p:pic>
          <p:nvPicPr>
            <p:cNvPr id="17" name="Graphic 16" descr="Hourglass Finished with solid fill">
              <a:extLst>
                <a:ext uri="{FF2B5EF4-FFF2-40B4-BE49-F238E27FC236}">
                  <a16:creationId xmlns:a16="http://schemas.microsoft.com/office/drawing/2014/main" id="{1A31E9FE-AE13-9548-412A-E27F7A14A73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387" y="2463641"/>
              <a:ext cx="525983" cy="525983"/>
            </a:xfrm>
            <a:prstGeom prst="rect">
              <a:avLst/>
            </a:prstGeom>
          </p:spPr>
        </p:pic>
        <p:grpSp>
          <p:nvGrpSpPr>
            <p:cNvPr id="18" name="Group 17">
              <a:extLst>
                <a:ext uri="{FF2B5EF4-FFF2-40B4-BE49-F238E27FC236}">
                  <a16:creationId xmlns:a16="http://schemas.microsoft.com/office/drawing/2014/main" id="{7E04A75D-0DFE-C29E-A551-FA4558634047}"/>
                </a:ext>
              </a:extLst>
            </p:cNvPr>
            <p:cNvGrpSpPr/>
            <p:nvPr/>
          </p:nvGrpSpPr>
          <p:grpSpPr>
            <a:xfrm>
              <a:off x="7556357" y="2571750"/>
              <a:ext cx="1193343" cy="1173680"/>
              <a:chOff x="106511" y="2159077"/>
              <a:chExt cx="914400" cy="914400"/>
            </a:xfrm>
            <a:solidFill>
              <a:schemeClr val="accent5">
                <a:lumMod val="95000"/>
              </a:schemeClr>
            </a:solidFill>
          </p:grpSpPr>
          <p:pic>
            <p:nvPicPr>
              <p:cNvPr id="19" name="Graphic 18" descr="Smart Phone with solid fill">
                <a:extLst>
                  <a:ext uri="{FF2B5EF4-FFF2-40B4-BE49-F238E27FC236}">
                    <a16:creationId xmlns:a16="http://schemas.microsoft.com/office/drawing/2014/main" id="{59FB02EB-D994-F244-29DA-BD4C800BCF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511" y="2159077"/>
                <a:ext cx="914400" cy="914400"/>
              </a:xfrm>
              <a:prstGeom prst="rect">
                <a:avLst/>
              </a:prstGeom>
            </p:spPr>
          </p:pic>
          <p:pic>
            <p:nvPicPr>
              <p:cNvPr id="20" name="Graphic 19" descr="Polaroid Pictures with solid fill">
                <a:extLst>
                  <a:ext uri="{FF2B5EF4-FFF2-40B4-BE49-F238E27FC236}">
                    <a16:creationId xmlns:a16="http://schemas.microsoft.com/office/drawing/2014/main" id="{4EEEE9E0-091B-6F09-E858-71460F07011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6488" y="2411590"/>
                <a:ext cx="410741" cy="410741"/>
              </a:xfrm>
              <a:prstGeom prst="rect">
                <a:avLst/>
              </a:prstGeom>
            </p:spPr>
          </p:pic>
        </p:grpSp>
        <p:sp>
          <p:nvSpPr>
            <p:cNvPr id="21" name="Arrow: Right 20">
              <a:extLst>
                <a:ext uri="{FF2B5EF4-FFF2-40B4-BE49-F238E27FC236}">
                  <a16:creationId xmlns:a16="http://schemas.microsoft.com/office/drawing/2014/main" id="{99B33C9D-F4F0-B689-C280-3B7B4AB66D84}"/>
                </a:ext>
              </a:extLst>
            </p:cNvPr>
            <p:cNvSpPr/>
            <p:nvPr/>
          </p:nvSpPr>
          <p:spPr>
            <a:xfrm>
              <a:off x="6996200" y="2953657"/>
              <a:ext cx="760650" cy="497758"/>
            </a:xfrm>
            <a:prstGeom prst="rightArrow">
              <a:avLst/>
            </a:prstGeom>
            <a:solidFill>
              <a:srgbClr val="0F1A42"/>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pic>
        <p:nvPicPr>
          <p:cNvPr id="4" name="Picture 3">
            <a:extLst>
              <a:ext uri="{FF2B5EF4-FFF2-40B4-BE49-F238E27FC236}">
                <a16:creationId xmlns:a16="http://schemas.microsoft.com/office/drawing/2014/main" id="{B783EB3A-6658-A1ED-4215-EE6D4CD42D52}"/>
              </a:ext>
            </a:extLst>
          </p:cNvPr>
          <p:cNvPicPr>
            <a:picLocks noChangeAspect="1" noChangeArrowheads="1"/>
          </p:cNvPicPr>
          <p:nvPr/>
        </p:nvPicPr>
        <p:blipFill rotWithShape="1">
          <a:blip r:embed="rId13">
            <a:clrChange>
              <a:clrFrom>
                <a:srgbClr val="FFF3FF"/>
              </a:clrFrom>
              <a:clrTo>
                <a:srgbClr val="FFF3FF">
                  <a:alpha val="0"/>
                </a:srgbClr>
              </a:clrTo>
            </a:clrChange>
            <a:extLst>
              <a:ext uri="{28A0092B-C50C-407E-A947-70E740481C1C}">
                <a14:useLocalDpi xmlns:a14="http://schemas.microsoft.com/office/drawing/2010/main" val="0"/>
              </a:ext>
            </a:extLst>
          </a:blip>
          <a:srcRect l="22703" t="12935" r="22455" b="10604"/>
          <a:stretch/>
        </p:blipFill>
        <p:spPr bwMode="auto">
          <a:xfrm>
            <a:off x="1943842" y="2521225"/>
            <a:ext cx="1330759" cy="139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6027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966"/>
        <p:cNvGrpSpPr/>
        <p:nvPr/>
      </p:nvGrpSpPr>
      <p:grpSpPr>
        <a:xfrm>
          <a:off x="0" y="0"/>
          <a:ext cx="0" cy="0"/>
          <a:chOff x="0" y="0"/>
          <a:chExt cx="0" cy="0"/>
        </a:xfrm>
      </p:grpSpPr>
      <p:sp>
        <p:nvSpPr>
          <p:cNvPr id="3968" name="Google Shape;3968;p40"/>
          <p:cNvSpPr txBox="1">
            <a:spLocks noGrp="1"/>
          </p:cNvSpPr>
          <p:nvPr>
            <p:ph type="title" idx="2"/>
          </p:nvPr>
        </p:nvSpPr>
        <p:spPr>
          <a:xfrm>
            <a:off x="7474835" y="1353544"/>
            <a:ext cx="900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3</a:t>
            </a:r>
            <a:endParaRPr/>
          </a:p>
        </p:txBody>
      </p:sp>
      <p:grpSp>
        <p:nvGrpSpPr>
          <p:cNvPr id="3970" name="Google Shape;3970;p40"/>
          <p:cNvGrpSpPr/>
          <p:nvPr/>
        </p:nvGrpSpPr>
        <p:grpSpPr>
          <a:xfrm>
            <a:off x="4151753" y="1411443"/>
            <a:ext cx="1763602" cy="1672817"/>
            <a:chOff x="4138184" y="930105"/>
            <a:chExt cx="3959591" cy="3755764"/>
          </a:xfrm>
        </p:grpSpPr>
        <p:sp>
          <p:nvSpPr>
            <p:cNvPr id="3971" name="Google Shape;3971;p4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72" name="Google Shape;3972;p40"/>
            <p:cNvGrpSpPr/>
            <p:nvPr/>
          </p:nvGrpSpPr>
          <p:grpSpPr>
            <a:xfrm>
              <a:off x="4138184" y="930105"/>
              <a:ext cx="3868174" cy="3755764"/>
              <a:chOff x="4138184" y="930105"/>
              <a:chExt cx="3868174" cy="3755764"/>
            </a:xfrm>
          </p:grpSpPr>
          <p:sp>
            <p:nvSpPr>
              <p:cNvPr id="3973" name="Google Shape;3973;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108" name="Google Shape;4108;p40"/>
          <p:cNvGrpSpPr/>
          <p:nvPr/>
        </p:nvGrpSpPr>
        <p:grpSpPr>
          <a:xfrm rot="-7355672">
            <a:off x="870850" y="88876"/>
            <a:ext cx="2053828" cy="1672589"/>
            <a:chOff x="3394530" y="930105"/>
            <a:chExt cx="4611828" cy="3755764"/>
          </a:xfrm>
        </p:grpSpPr>
        <p:sp>
          <p:nvSpPr>
            <p:cNvPr id="4109" name="Google Shape;4109;p40"/>
            <p:cNvSpPr/>
            <p:nvPr/>
          </p:nvSpPr>
          <p:spPr>
            <a:xfrm>
              <a:off x="3394530" y="121409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10" name="Google Shape;4110;p40"/>
            <p:cNvGrpSpPr/>
            <p:nvPr/>
          </p:nvGrpSpPr>
          <p:grpSpPr>
            <a:xfrm>
              <a:off x="4138184" y="930105"/>
              <a:ext cx="3868174" cy="3755764"/>
              <a:chOff x="4138184" y="930105"/>
              <a:chExt cx="3868174" cy="3755764"/>
            </a:xfrm>
          </p:grpSpPr>
          <p:sp>
            <p:nvSpPr>
              <p:cNvPr id="4111" name="Google Shape;4111;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246" name="Google Shape;4246;p40"/>
          <p:cNvSpPr/>
          <p:nvPr/>
        </p:nvSpPr>
        <p:spPr>
          <a:xfrm>
            <a:off x="2695575" y="577651"/>
            <a:ext cx="7524750" cy="852425"/>
          </a:xfrm>
          <a:custGeom>
            <a:avLst/>
            <a:gdLst/>
            <a:ahLst/>
            <a:cxnLst/>
            <a:rect l="l" t="t" r="r" b="b"/>
            <a:pathLst>
              <a:path w="300990" h="34097" extrusionOk="0">
                <a:moveTo>
                  <a:pt x="0" y="32520"/>
                </a:moveTo>
                <a:cubicBezTo>
                  <a:pt x="7924" y="35161"/>
                  <a:pt x="18859" y="34616"/>
                  <a:pt x="24765" y="28710"/>
                </a:cubicBezTo>
                <a:cubicBezTo>
                  <a:pt x="31243" y="22232"/>
                  <a:pt x="37345" y="15285"/>
                  <a:pt x="44577" y="9660"/>
                </a:cubicBezTo>
                <a:cubicBezTo>
                  <a:pt x="51934" y="3938"/>
                  <a:pt x="61556" y="578"/>
                  <a:pt x="70866" y="135"/>
                </a:cubicBezTo>
                <a:cubicBezTo>
                  <a:pt x="93542" y="-945"/>
                  <a:pt x="114127" y="15770"/>
                  <a:pt x="136779" y="17280"/>
                </a:cubicBezTo>
                <a:cubicBezTo>
                  <a:pt x="151596" y="18268"/>
                  <a:pt x="166931" y="14015"/>
                  <a:pt x="180213" y="7374"/>
                </a:cubicBezTo>
                <a:cubicBezTo>
                  <a:pt x="184785" y="5088"/>
                  <a:pt x="188887" y="1356"/>
                  <a:pt x="193929" y="516"/>
                </a:cubicBezTo>
                <a:cubicBezTo>
                  <a:pt x="209882" y="-2143"/>
                  <a:pt x="225483" y="7642"/>
                  <a:pt x="241173" y="11565"/>
                </a:cubicBezTo>
                <a:cubicBezTo>
                  <a:pt x="260630" y="16429"/>
                  <a:pt x="281089" y="15554"/>
                  <a:pt x="300990" y="18042"/>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4247" name="Google Shape;4247;p40"/>
          <p:cNvSpPr/>
          <p:nvPr/>
        </p:nvSpPr>
        <p:spPr>
          <a:xfrm>
            <a:off x="928277" y="2335969"/>
            <a:ext cx="3129375" cy="3560000"/>
          </a:xfrm>
          <a:custGeom>
            <a:avLst/>
            <a:gdLst/>
            <a:ahLst/>
            <a:cxnLst/>
            <a:rect l="l" t="t" r="r" b="b"/>
            <a:pathLst>
              <a:path w="125175" h="142400" extrusionOk="0">
                <a:moveTo>
                  <a:pt x="125175" y="12098"/>
                </a:moveTo>
                <a:cubicBezTo>
                  <a:pt x="108411" y="26068"/>
                  <a:pt x="79660" y="31892"/>
                  <a:pt x="60405" y="21623"/>
                </a:cubicBezTo>
                <a:cubicBezTo>
                  <a:pt x="54873" y="18673"/>
                  <a:pt x="57931" y="7034"/>
                  <a:pt x="62691" y="2954"/>
                </a:cubicBezTo>
                <a:cubicBezTo>
                  <a:pt x="67536" y="-1199"/>
                  <a:pt x="79371" y="-1066"/>
                  <a:pt x="81741" y="4859"/>
                </a:cubicBezTo>
                <a:cubicBezTo>
                  <a:pt x="84441" y="11609"/>
                  <a:pt x="78205" y="20786"/>
                  <a:pt x="71835" y="24290"/>
                </a:cubicBezTo>
                <a:cubicBezTo>
                  <a:pt x="65429" y="27813"/>
                  <a:pt x="57961" y="28946"/>
                  <a:pt x="50880" y="30767"/>
                </a:cubicBezTo>
                <a:cubicBezTo>
                  <a:pt x="36012" y="34590"/>
                  <a:pt x="17539" y="32866"/>
                  <a:pt x="6684" y="43721"/>
                </a:cubicBezTo>
                <a:cubicBezTo>
                  <a:pt x="1541" y="48864"/>
                  <a:pt x="-2432" y="59377"/>
                  <a:pt x="2112" y="65057"/>
                </a:cubicBezTo>
                <a:cubicBezTo>
                  <a:pt x="6988" y="71153"/>
                  <a:pt x="16706" y="70627"/>
                  <a:pt x="23829" y="73820"/>
                </a:cubicBezTo>
                <a:cubicBezTo>
                  <a:pt x="27143" y="75306"/>
                  <a:pt x="28734" y="79308"/>
                  <a:pt x="30306" y="82583"/>
                </a:cubicBezTo>
                <a:cubicBezTo>
                  <a:pt x="39052" y="100803"/>
                  <a:pt x="34691" y="128109"/>
                  <a:pt x="20400" y="142400"/>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3967" name="Google Shape;3967;p40"/>
          <p:cNvSpPr txBox="1">
            <a:spLocks noGrp="1"/>
          </p:cNvSpPr>
          <p:nvPr>
            <p:ph type="title"/>
          </p:nvPr>
        </p:nvSpPr>
        <p:spPr>
          <a:xfrm>
            <a:off x="2476501" y="129748"/>
            <a:ext cx="5954250" cy="1300174"/>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TECHNICAL REPORT</a:t>
            </a:r>
            <a:endParaRPr/>
          </a:p>
        </p:txBody>
      </p:sp>
      <p:sp>
        <p:nvSpPr>
          <p:cNvPr id="3" name="TextBox 2">
            <a:extLst>
              <a:ext uri="{FF2B5EF4-FFF2-40B4-BE49-F238E27FC236}">
                <a16:creationId xmlns:a16="http://schemas.microsoft.com/office/drawing/2014/main" id="{60ED351A-8B5A-1D82-0151-0C6385095CCE}"/>
              </a:ext>
            </a:extLst>
          </p:cNvPr>
          <p:cNvSpPr txBox="1"/>
          <p:nvPr/>
        </p:nvSpPr>
        <p:spPr>
          <a:xfrm>
            <a:off x="3884057" y="3461944"/>
            <a:ext cx="6450036" cy="1308050"/>
          </a:xfrm>
          <a:prstGeom prst="rect">
            <a:avLst/>
          </a:prstGeom>
          <a:noFill/>
        </p:spPr>
        <p:txBody>
          <a:bodyPr wrap="square">
            <a:spAutoFit/>
          </a:bodyPr>
          <a:lstStyle/>
          <a:p>
            <a:pPr marL="342900" indent="-504000">
              <a:spcAft>
                <a:spcPts val="600"/>
              </a:spcAft>
              <a:buClr>
                <a:srgbClr val="242F58"/>
              </a:buClr>
              <a:buSzPct val="100000"/>
              <a:buAutoNum type="arabicPeriod"/>
            </a:pP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Dependent variables &amp; features</a:t>
            </a:r>
          </a:p>
          <a:p>
            <a:pPr marL="342900" indent="-504000">
              <a:spcAft>
                <a:spcPts val="600"/>
              </a:spcAft>
              <a:buClr>
                <a:srgbClr val="242F58"/>
              </a:buClr>
              <a:buSzPct val="100000"/>
              <a:buAutoNum type="arabicPeriod"/>
            </a:pP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Preprocessing</a:t>
            </a:r>
          </a:p>
          <a:p>
            <a:pPr marL="342900" indent="-504000">
              <a:spcAft>
                <a:spcPts val="600"/>
              </a:spcAft>
              <a:buClr>
                <a:srgbClr val="242F58"/>
              </a:buClr>
              <a:buSzPct val="100000"/>
              <a:buAutoNum type="arabicPeriod"/>
            </a:pP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Modelling intricacies (RFE, non-stationarity)</a:t>
            </a:r>
          </a:p>
          <a:p>
            <a:pPr marL="342900" indent="-504000">
              <a:spcAft>
                <a:spcPts val="600"/>
              </a:spcAft>
              <a:buClr>
                <a:srgbClr val="242F58"/>
              </a:buClr>
              <a:buSzPct val="100000"/>
              <a:buAutoNum type="arabicPeriod"/>
            </a:pP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Models used &amp; evaluation</a:t>
            </a:r>
          </a:p>
        </p:txBody>
      </p:sp>
    </p:spTree>
    <p:extLst>
      <p:ext uri="{BB962C8B-B14F-4D97-AF65-F5344CB8AC3E}">
        <p14:creationId xmlns:p14="http://schemas.microsoft.com/office/powerpoint/2010/main" val="6114016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5A6C43D-79FC-A072-5ED9-228DFA64B78A}"/>
              </a:ext>
            </a:extLst>
          </p:cNvPr>
          <p:cNvSpPr/>
          <p:nvPr/>
        </p:nvSpPr>
        <p:spPr>
          <a:xfrm>
            <a:off x="7477126" y="4348276"/>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4" name="Picture 43">
            <a:extLst>
              <a:ext uri="{FF2B5EF4-FFF2-40B4-BE49-F238E27FC236}">
                <a16:creationId xmlns:a16="http://schemas.microsoft.com/office/drawing/2014/main" id="{64B2D9E6-17EA-E3D6-CE38-6CE2D468BB98}"/>
              </a:ext>
            </a:extLst>
          </p:cNvPr>
          <p:cNvPicPr>
            <a:picLocks noChangeAspect="1"/>
          </p:cNvPicPr>
          <p:nvPr/>
        </p:nvPicPr>
        <p:blipFill>
          <a:blip r:embed="rId3"/>
          <a:srcRect/>
          <a:stretch/>
        </p:blipFill>
        <p:spPr>
          <a:xfrm>
            <a:off x="4408239" y="2571751"/>
            <a:ext cx="4335392" cy="2055351"/>
          </a:xfrm>
          <a:prstGeom prst="rect">
            <a:avLst/>
          </a:prstGeom>
        </p:spPr>
      </p:pic>
      <p:pic>
        <p:nvPicPr>
          <p:cNvPr id="62" name="Picture 61">
            <a:extLst>
              <a:ext uri="{FF2B5EF4-FFF2-40B4-BE49-F238E27FC236}">
                <a16:creationId xmlns:a16="http://schemas.microsoft.com/office/drawing/2014/main" id="{79FF5231-10E8-0638-FB29-6349C0A86B31}"/>
              </a:ext>
            </a:extLst>
          </p:cNvPr>
          <p:cNvPicPr>
            <a:picLocks noChangeAspect="1"/>
          </p:cNvPicPr>
          <p:nvPr/>
        </p:nvPicPr>
        <p:blipFill>
          <a:blip r:embed="rId4"/>
          <a:srcRect/>
          <a:stretch/>
        </p:blipFill>
        <p:spPr>
          <a:xfrm>
            <a:off x="4408239" y="2571750"/>
            <a:ext cx="4334273" cy="2055351"/>
          </a:xfrm>
          <a:prstGeom prst="rect">
            <a:avLst/>
          </a:prstGeom>
        </p:spPr>
      </p:pic>
      <p:sp>
        <p:nvSpPr>
          <p:cNvPr id="2" name="Title 1">
            <a:extLst>
              <a:ext uri="{FF2B5EF4-FFF2-40B4-BE49-F238E27FC236}">
                <a16:creationId xmlns:a16="http://schemas.microsoft.com/office/drawing/2014/main" id="{4E850612-218A-644D-FBD6-5291BEF5562C}"/>
              </a:ext>
            </a:extLst>
          </p:cNvPr>
          <p:cNvSpPr>
            <a:spLocks noGrp="1"/>
          </p:cNvSpPr>
          <p:nvPr>
            <p:ph type="title"/>
          </p:nvPr>
        </p:nvSpPr>
        <p:spPr/>
        <p:txBody>
          <a:bodyPr/>
          <a:lstStyle/>
          <a:p>
            <a:r>
              <a:rPr lang="en-GB"/>
              <a:t>NUMBER OF FOLLOWERS</a:t>
            </a:r>
          </a:p>
        </p:txBody>
      </p:sp>
      <p:sp>
        <p:nvSpPr>
          <p:cNvPr id="5" name="Text Placeholder 4">
            <a:extLst>
              <a:ext uri="{FF2B5EF4-FFF2-40B4-BE49-F238E27FC236}">
                <a16:creationId xmlns:a16="http://schemas.microsoft.com/office/drawing/2014/main" id="{4604F022-39E0-12B6-C8FB-A198823CED7E}"/>
              </a:ext>
            </a:extLst>
          </p:cNvPr>
          <p:cNvSpPr>
            <a:spLocks noGrp="1"/>
          </p:cNvSpPr>
          <p:nvPr>
            <p:ph type="body" idx="1"/>
          </p:nvPr>
        </p:nvSpPr>
        <p:spPr>
          <a:xfrm>
            <a:off x="573740" y="1049380"/>
            <a:ext cx="8307931" cy="2803800"/>
          </a:xfrm>
        </p:spPr>
        <p:txBody>
          <a:bodyPr/>
          <a:lstStyle/>
          <a:p>
            <a:pPr marL="139700" indent="0">
              <a:buNone/>
            </a:pPr>
            <a:r>
              <a:rPr lang="en-GB" b="1" dirty="0">
                <a:solidFill>
                  <a:srgbClr val="C00000"/>
                </a:solidFill>
                <a:latin typeface="Tahoma" panose="020B0604030504040204" pitchFamily="34" charset="0"/>
                <a:ea typeface="Tahoma" panose="020B0604030504040204" pitchFamily="34" charset="0"/>
                <a:cs typeface="Tahoma" panose="020B0604030504040204" pitchFamily="34" charset="0"/>
              </a:rPr>
              <a:t>Problem</a:t>
            </a:r>
            <a:r>
              <a:rPr lang="en-GB" dirty="0">
                <a:solidFill>
                  <a:srgbClr val="C00000"/>
                </a:solidFill>
                <a:latin typeface="Tahoma" panose="020B0604030504040204" pitchFamily="34" charset="0"/>
                <a:ea typeface="Tahoma" panose="020B0604030504040204" pitchFamily="34" charset="0"/>
                <a:cs typeface="Tahoma" panose="020B0604030504040204" pitchFamily="34" charset="0"/>
              </a:rPr>
              <a:t>: followers at time of posting = followers at time of scraping = constant</a:t>
            </a:r>
          </a:p>
          <a:p>
            <a:pPr marL="139700" indent="0">
              <a:buNone/>
            </a:pPr>
            <a:r>
              <a:rPr lang="en-GB" dirty="0">
                <a:solidFill>
                  <a:srgbClr val="C00000"/>
                </a:solidFill>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We need follower data from March 2013 – December 2020</a:t>
            </a:r>
            <a:endParaRPr lang="en-GB" dirty="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139700" indent="0">
              <a:buNone/>
            </a:pPr>
            <a:endParaRPr lang="en-GB"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8B0F4B28-0790-609D-D971-B609220E69FC}"/>
                  </a:ext>
                </a:extLst>
              </p:cNvPr>
              <p:cNvSpPr txBox="1"/>
              <p:nvPr/>
            </p:nvSpPr>
            <p:spPr>
              <a:xfrm>
                <a:off x="4619409" y="329109"/>
                <a:ext cx="4190250" cy="44711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1" i="0" smtClean="0">
                          <a:solidFill>
                            <a:srgbClr val="242F58"/>
                          </a:solidFill>
                          <a:latin typeface="Cambria Math" panose="02040503050406030204" pitchFamily="18" charset="0"/>
                        </a:rPr>
                        <m:t>𝐄𝐧</m:t>
                      </m:r>
                      <m:r>
                        <a:rPr lang="en-GB" b="1" i="0">
                          <a:solidFill>
                            <a:srgbClr val="242F58"/>
                          </a:solidFill>
                          <a:latin typeface="Cambria Math" panose="02040503050406030204" pitchFamily="18" charset="0"/>
                        </a:rPr>
                        <m:t>𝐠𝐚𝐠𝐞𝐦𝐞𝐧𝐭</m:t>
                      </m:r>
                      <m:r>
                        <a:rPr lang="en-GB" b="1" i="1">
                          <a:solidFill>
                            <a:srgbClr val="242F58"/>
                          </a:solidFill>
                          <a:latin typeface="Cambria Math" panose="02040503050406030204" pitchFamily="18" charset="0"/>
                        </a:rPr>
                        <m:t>= </m:t>
                      </m:r>
                      <m:f>
                        <m:fPr>
                          <m:ctrlPr>
                            <a:rPr lang="en-GB" b="1" i="1">
                              <a:solidFill>
                                <a:srgbClr val="242F58"/>
                              </a:solidFill>
                              <a:latin typeface="Cambria Math" panose="02040503050406030204" pitchFamily="18" charset="0"/>
                            </a:rPr>
                          </m:ctrlPr>
                        </m:fPr>
                        <m:num>
                          <m:r>
                            <a:rPr lang="en-GB" b="1" i="1">
                              <a:solidFill>
                                <a:srgbClr val="242F58"/>
                              </a:solidFill>
                              <a:latin typeface="Cambria Math" panose="02040503050406030204" pitchFamily="18" charset="0"/>
                            </a:rPr>
                            <m:t>𝐥𝐢𝐤𝐞𝐬</m:t>
                          </m:r>
                          <m:r>
                            <a:rPr lang="en-GB" b="1" i="1">
                              <a:solidFill>
                                <a:srgbClr val="242F58"/>
                              </a:solidFill>
                              <a:latin typeface="Cambria Math" panose="02040503050406030204" pitchFamily="18" charset="0"/>
                            </a:rPr>
                            <m:t>+</m:t>
                          </m:r>
                          <m:r>
                            <a:rPr lang="en-GB" b="1" i="1">
                              <a:solidFill>
                                <a:srgbClr val="242F58"/>
                              </a:solidFill>
                              <a:latin typeface="Cambria Math" panose="02040503050406030204" pitchFamily="18" charset="0"/>
                            </a:rPr>
                            <m:t>𝐜𝐨𝐦𝐦𝐞𝐧𝐭𝐬</m:t>
                          </m:r>
                        </m:num>
                        <m:den>
                          <m:r>
                            <a:rPr lang="en-GB" b="1" i="1" smtClean="0">
                              <a:solidFill>
                                <a:srgbClr val="C00000"/>
                              </a:solidFill>
                              <a:latin typeface="Cambria Math" panose="02040503050406030204" pitchFamily="18" charset="0"/>
                            </a:rPr>
                            <m:t>𝐟𝐨𝐥𝐥𝐨𝐰𝐞𝐫𝐬</m:t>
                          </m:r>
                          <m:r>
                            <a:rPr lang="en-GB" b="1" i="1" smtClean="0">
                              <a:solidFill>
                                <a:srgbClr val="C00000"/>
                              </a:solidFill>
                              <a:latin typeface="Cambria Math" panose="02040503050406030204" pitchFamily="18" charset="0"/>
                            </a:rPr>
                            <m:t> </m:t>
                          </m:r>
                          <m:r>
                            <a:rPr lang="en-GB" b="1" i="1" smtClean="0">
                              <a:solidFill>
                                <a:srgbClr val="C00000"/>
                              </a:solidFill>
                              <a:latin typeface="Cambria Math" panose="02040503050406030204" pitchFamily="18" charset="0"/>
                            </a:rPr>
                            <m:t>𝐚𝐭</m:t>
                          </m:r>
                          <m:r>
                            <a:rPr lang="en-GB" b="1" i="1" smtClean="0">
                              <a:solidFill>
                                <a:srgbClr val="C00000"/>
                              </a:solidFill>
                              <a:latin typeface="Cambria Math" panose="02040503050406030204" pitchFamily="18" charset="0"/>
                            </a:rPr>
                            <m:t> </m:t>
                          </m:r>
                          <m:r>
                            <a:rPr lang="en-GB" b="1" i="1" smtClean="0">
                              <a:solidFill>
                                <a:srgbClr val="C00000"/>
                              </a:solidFill>
                              <a:latin typeface="Cambria Math" panose="02040503050406030204" pitchFamily="18" charset="0"/>
                            </a:rPr>
                            <m:t>𝐭𝐢𝐦𝐞</m:t>
                          </m:r>
                          <m:r>
                            <a:rPr lang="en-GB" b="1" i="1" smtClean="0">
                              <a:solidFill>
                                <a:srgbClr val="C00000"/>
                              </a:solidFill>
                              <a:latin typeface="Cambria Math" panose="02040503050406030204" pitchFamily="18" charset="0"/>
                            </a:rPr>
                            <m:t> </m:t>
                          </m:r>
                          <m:r>
                            <a:rPr lang="en-GB" b="1" i="1" smtClean="0">
                              <a:solidFill>
                                <a:srgbClr val="C00000"/>
                              </a:solidFill>
                              <a:latin typeface="Cambria Math" panose="02040503050406030204" pitchFamily="18" charset="0"/>
                            </a:rPr>
                            <m:t>𝐨𝐟</m:t>
                          </m:r>
                          <m:r>
                            <a:rPr lang="en-GB" b="1" i="1" smtClean="0">
                              <a:solidFill>
                                <a:srgbClr val="C00000"/>
                              </a:solidFill>
                              <a:latin typeface="Cambria Math" panose="02040503050406030204" pitchFamily="18" charset="0"/>
                            </a:rPr>
                            <m:t> </m:t>
                          </m:r>
                          <m:r>
                            <a:rPr lang="en-GB" b="1" i="1" smtClean="0">
                              <a:solidFill>
                                <a:srgbClr val="C00000"/>
                              </a:solidFill>
                              <a:latin typeface="Cambria Math" panose="02040503050406030204" pitchFamily="18" charset="0"/>
                            </a:rPr>
                            <m:t>𝐩𝐨𝐬𝐭𝐢𝐧𝐠</m:t>
                          </m:r>
                        </m:den>
                      </m:f>
                      <m:r>
                        <a:rPr lang="en-GB" b="1" i="1">
                          <a:solidFill>
                            <a:srgbClr val="242F58"/>
                          </a:solidFill>
                          <a:latin typeface="Cambria Math" panose="02040503050406030204" pitchFamily="18" charset="0"/>
                        </a:rPr>
                        <m:t>∗</m:t>
                      </m:r>
                      <m:r>
                        <a:rPr lang="en-GB" b="1" i="1">
                          <a:solidFill>
                            <a:srgbClr val="242F58"/>
                          </a:solidFill>
                          <a:latin typeface="Cambria Math" panose="02040503050406030204" pitchFamily="18" charset="0"/>
                        </a:rPr>
                        <m:t>𝟏𝟎𝟎</m:t>
                      </m:r>
                    </m:oMath>
                  </m:oMathPara>
                </a14:m>
                <a:endParaRPr lang="en-GB" b="1" i="1">
                  <a:solidFill>
                    <a:srgbClr val="242F58"/>
                  </a:solidFill>
                  <a:latin typeface="Cambria Math" panose="02040503050406030204" pitchFamily="18" charset="0"/>
                </a:endParaRPr>
              </a:p>
            </p:txBody>
          </p:sp>
        </mc:Choice>
        <mc:Fallback>
          <p:sp>
            <p:nvSpPr>
              <p:cNvPr id="6" name="TextBox 5">
                <a:extLst>
                  <a:ext uri="{FF2B5EF4-FFF2-40B4-BE49-F238E27FC236}">
                    <a16:creationId xmlns:a16="http://schemas.microsoft.com/office/drawing/2014/main" id="{8B0F4B28-0790-609D-D971-B609220E69FC}"/>
                  </a:ext>
                </a:extLst>
              </p:cNvPr>
              <p:cNvSpPr txBox="1">
                <a:spLocks noRot="1" noChangeAspect="1" noMove="1" noResize="1" noEditPoints="1" noAdjustHandles="1" noChangeArrowheads="1" noChangeShapeType="1" noTextEdit="1"/>
              </p:cNvSpPr>
              <p:nvPr/>
            </p:nvSpPr>
            <p:spPr>
              <a:xfrm>
                <a:off x="4619409" y="329109"/>
                <a:ext cx="4190250" cy="447110"/>
              </a:xfrm>
              <a:prstGeom prst="rect">
                <a:avLst/>
              </a:prstGeom>
              <a:blipFill>
                <a:blip r:embed="rId5"/>
                <a:stretch>
                  <a:fillRect l="-582" t="-2740" r="-437" b="-16438"/>
                </a:stretch>
              </a:blipFill>
            </p:spPr>
            <p:txBody>
              <a:bodyPr/>
              <a:lstStyle/>
              <a:p>
                <a:r>
                  <a:rPr lang="en-GB">
                    <a:noFill/>
                  </a:rPr>
                  <a:t> </a:t>
                </a:r>
              </a:p>
            </p:txBody>
          </p:sp>
        </mc:Fallback>
      </mc:AlternateContent>
      <p:grpSp>
        <p:nvGrpSpPr>
          <p:cNvPr id="19" name="Group 18">
            <a:extLst>
              <a:ext uri="{FF2B5EF4-FFF2-40B4-BE49-F238E27FC236}">
                <a16:creationId xmlns:a16="http://schemas.microsoft.com/office/drawing/2014/main" id="{6A210907-1BAE-C447-3E0E-5FA19FF98E8B}"/>
              </a:ext>
            </a:extLst>
          </p:cNvPr>
          <p:cNvGrpSpPr/>
          <p:nvPr/>
        </p:nvGrpSpPr>
        <p:grpSpPr>
          <a:xfrm>
            <a:off x="613574" y="1790966"/>
            <a:ext cx="3334922" cy="988052"/>
            <a:chOff x="261210" y="1790966"/>
            <a:chExt cx="3334922" cy="988052"/>
          </a:xfrm>
        </p:grpSpPr>
        <p:pic>
          <p:nvPicPr>
            <p:cNvPr id="20" name="Picture 19">
              <a:extLst>
                <a:ext uri="{FF2B5EF4-FFF2-40B4-BE49-F238E27FC236}">
                  <a16:creationId xmlns:a16="http://schemas.microsoft.com/office/drawing/2014/main" id="{8797D316-E103-4DEF-B428-081C88B66E29}"/>
                </a:ext>
              </a:extLst>
            </p:cNvPr>
            <p:cNvPicPr>
              <a:picLocks noChangeAspect="1"/>
            </p:cNvPicPr>
            <p:nvPr/>
          </p:nvPicPr>
          <p:blipFill>
            <a:blip r:embed="rId6"/>
            <a:stretch>
              <a:fillRect/>
            </a:stretch>
          </p:blipFill>
          <p:spPr>
            <a:xfrm>
              <a:off x="261210" y="1790966"/>
              <a:ext cx="3313641" cy="988052"/>
            </a:xfrm>
            <a:prstGeom prst="rect">
              <a:avLst/>
            </a:prstGeom>
          </p:spPr>
        </p:pic>
        <p:sp>
          <p:nvSpPr>
            <p:cNvPr id="16" name="Rectangle 15">
              <a:extLst>
                <a:ext uri="{FF2B5EF4-FFF2-40B4-BE49-F238E27FC236}">
                  <a16:creationId xmlns:a16="http://schemas.microsoft.com/office/drawing/2014/main" id="{F130ACC3-9B09-8A75-564B-1EE3AE3C9CC0}"/>
                </a:ext>
              </a:extLst>
            </p:cNvPr>
            <p:cNvSpPr/>
            <p:nvPr/>
          </p:nvSpPr>
          <p:spPr>
            <a:xfrm>
              <a:off x="1918030" y="1845522"/>
              <a:ext cx="1560666" cy="1791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139F4CB2-7819-996D-1890-ECCB56EB47B4}"/>
                </a:ext>
              </a:extLst>
            </p:cNvPr>
            <p:cNvPicPr>
              <a:picLocks noChangeAspect="1"/>
            </p:cNvPicPr>
            <p:nvPr/>
          </p:nvPicPr>
          <p:blipFill>
            <a:blip r:embed="rId7"/>
            <a:stretch>
              <a:fillRect/>
            </a:stretch>
          </p:blipFill>
          <p:spPr>
            <a:xfrm>
              <a:off x="2325758" y="1933687"/>
              <a:ext cx="1270374" cy="146216"/>
            </a:xfrm>
            <a:prstGeom prst="rect">
              <a:avLst/>
            </a:prstGeom>
          </p:spPr>
        </p:pic>
      </p:grpSp>
      <p:pic>
        <p:nvPicPr>
          <p:cNvPr id="1028" name="Picture 4" descr="Social Blade - Social Media | YouTube | Twitch | Instagram">
            <a:extLst>
              <a:ext uri="{FF2B5EF4-FFF2-40B4-BE49-F238E27FC236}">
                <a16:creationId xmlns:a16="http://schemas.microsoft.com/office/drawing/2014/main" id="{52B2D55E-DE96-5959-A209-A991AE5AF91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7564"/>
          <a:stretch/>
        </p:blipFill>
        <p:spPr bwMode="auto">
          <a:xfrm>
            <a:off x="613574" y="1645330"/>
            <a:ext cx="626601" cy="35056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D9BADD0-4640-C4F7-48F4-025B46C3502F}"/>
              </a:ext>
            </a:extLst>
          </p:cNvPr>
          <p:cNvSpPr txBox="1"/>
          <p:nvPr/>
        </p:nvSpPr>
        <p:spPr>
          <a:xfrm>
            <a:off x="1240175" y="1644799"/>
            <a:ext cx="2207081" cy="261610"/>
          </a:xfrm>
          <a:prstGeom prst="rect">
            <a:avLst/>
          </a:prstGeom>
          <a:noFill/>
        </p:spPr>
        <p:txBody>
          <a:bodyPr wrap="square" rtlCol="0">
            <a:spAutoFit/>
          </a:bodyPr>
          <a:lstStyle/>
          <a:p>
            <a:r>
              <a:rPr lang="en-GB" sz="1100" b="1">
                <a:solidFill>
                  <a:srgbClr val="B53526"/>
                </a:solidFill>
                <a:latin typeface="Tahoma" panose="020B0604030504040204" pitchFamily="34" charset="0"/>
                <a:ea typeface="Tahoma" panose="020B0604030504040204" pitchFamily="34" charset="0"/>
                <a:cs typeface="Tahoma" panose="020B0604030504040204" pitchFamily="34" charset="0"/>
              </a:rPr>
              <a:t>But: only until end of 2018</a:t>
            </a:r>
          </a:p>
        </p:txBody>
      </p:sp>
      <p:pic>
        <p:nvPicPr>
          <p:cNvPr id="22" name="Picture 21" descr="A black and red text&#10;&#10;Description automatically generated">
            <a:extLst>
              <a:ext uri="{FF2B5EF4-FFF2-40B4-BE49-F238E27FC236}">
                <a16:creationId xmlns:a16="http://schemas.microsoft.com/office/drawing/2014/main" id="{0CCD9566-CAEC-23FF-A77B-4EC512D3A2F4}"/>
              </a:ext>
            </a:extLst>
          </p:cNvPr>
          <p:cNvPicPr>
            <a:picLocks noChangeAspect="1"/>
          </p:cNvPicPr>
          <p:nvPr/>
        </p:nvPicPr>
        <p:blipFill>
          <a:blip r:embed="rId9"/>
          <a:stretch>
            <a:fillRect/>
          </a:stretch>
        </p:blipFill>
        <p:spPr>
          <a:xfrm>
            <a:off x="694766" y="2994873"/>
            <a:ext cx="1103799" cy="401381"/>
          </a:xfrm>
          <a:prstGeom prst="rect">
            <a:avLst/>
          </a:prstGeom>
        </p:spPr>
      </p:pic>
      <p:grpSp>
        <p:nvGrpSpPr>
          <p:cNvPr id="23" name="Group 22">
            <a:extLst>
              <a:ext uri="{FF2B5EF4-FFF2-40B4-BE49-F238E27FC236}">
                <a16:creationId xmlns:a16="http://schemas.microsoft.com/office/drawing/2014/main" id="{10085719-914D-F25B-05CF-1765332DD589}"/>
              </a:ext>
            </a:extLst>
          </p:cNvPr>
          <p:cNvGrpSpPr/>
          <p:nvPr/>
        </p:nvGrpSpPr>
        <p:grpSpPr>
          <a:xfrm>
            <a:off x="9906" y="3542999"/>
            <a:ext cx="4109227" cy="1373958"/>
            <a:chOff x="1823465" y="3262578"/>
            <a:chExt cx="5947464" cy="1988591"/>
          </a:xfrm>
        </p:grpSpPr>
        <p:pic>
          <p:nvPicPr>
            <p:cNvPr id="24" name="Picture 23">
              <a:extLst>
                <a:ext uri="{FF2B5EF4-FFF2-40B4-BE49-F238E27FC236}">
                  <a16:creationId xmlns:a16="http://schemas.microsoft.com/office/drawing/2014/main" id="{3AA7BE74-0537-3D10-9EB2-AD04C08748DD}"/>
                </a:ext>
              </a:extLst>
            </p:cNvPr>
            <p:cNvPicPr>
              <a:picLocks noChangeAspect="1"/>
            </p:cNvPicPr>
            <p:nvPr/>
          </p:nvPicPr>
          <p:blipFill>
            <a:blip r:embed="rId10"/>
            <a:stretch>
              <a:fillRect/>
            </a:stretch>
          </p:blipFill>
          <p:spPr>
            <a:xfrm>
              <a:off x="2814694" y="3262578"/>
              <a:ext cx="4956235" cy="974973"/>
            </a:xfrm>
            <a:prstGeom prst="rect">
              <a:avLst/>
            </a:prstGeom>
          </p:spPr>
        </p:pic>
        <p:pic>
          <p:nvPicPr>
            <p:cNvPr id="25" name="Picture 24">
              <a:extLst>
                <a:ext uri="{FF2B5EF4-FFF2-40B4-BE49-F238E27FC236}">
                  <a16:creationId xmlns:a16="http://schemas.microsoft.com/office/drawing/2014/main" id="{7B569FB3-DD78-B580-6F38-01F7E13C197E}"/>
                </a:ext>
              </a:extLst>
            </p:cNvPr>
            <p:cNvPicPr>
              <a:picLocks noChangeAspect="1"/>
            </p:cNvPicPr>
            <p:nvPr/>
          </p:nvPicPr>
          <p:blipFill rotWithShape="1">
            <a:blip r:embed="rId11"/>
            <a:srcRect b="33720"/>
            <a:stretch/>
          </p:blipFill>
          <p:spPr>
            <a:xfrm>
              <a:off x="2814694" y="4318526"/>
              <a:ext cx="4956235" cy="932643"/>
            </a:xfrm>
            <a:prstGeom prst="rect">
              <a:avLst/>
            </a:prstGeom>
          </p:spPr>
        </p:pic>
        <p:sp>
          <p:nvSpPr>
            <p:cNvPr id="26" name="TextBox 25">
              <a:extLst>
                <a:ext uri="{FF2B5EF4-FFF2-40B4-BE49-F238E27FC236}">
                  <a16:creationId xmlns:a16="http://schemas.microsoft.com/office/drawing/2014/main" id="{B03D1396-0E77-6AED-F25A-CC7504CEFFA3}"/>
                </a:ext>
              </a:extLst>
            </p:cNvPr>
            <p:cNvSpPr txBox="1"/>
            <p:nvPr/>
          </p:nvSpPr>
          <p:spPr>
            <a:xfrm>
              <a:off x="1823465" y="3439131"/>
              <a:ext cx="1135505" cy="579097"/>
            </a:xfrm>
            <a:prstGeom prst="rect">
              <a:avLst/>
            </a:prstGeom>
            <a:noFill/>
          </p:spPr>
          <p:txBody>
            <a:bodyPr wrap="square">
              <a:spAutoFit/>
            </a:bodyPr>
            <a:lstStyle/>
            <a:p>
              <a:pPr algn="ctr"/>
              <a:r>
                <a:rPr lang="en-GB" sz="1000" b="1">
                  <a:solidFill>
                    <a:srgbClr val="0A1D3D"/>
                  </a:solidFill>
                  <a:latin typeface="Tahoma" panose="020B0604030504040204" pitchFamily="34" charset="0"/>
                  <a:ea typeface="Tahoma" panose="020B0604030504040204" pitchFamily="34" charset="0"/>
                  <a:cs typeface="Tahoma" panose="020B0604030504040204" pitchFamily="34" charset="0"/>
                </a:rPr>
                <a:t>August 2013</a:t>
              </a:r>
              <a:endParaRPr lang="en-GB" sz="1000"/>
            </a:p>
          </p:txBody>
        </p:sp>
        <p:sp>
          <p:nvSpPr>
            <p:cNvPr id="27" name="TextBox 26">
              <a:extLst>
                <a:ext uri="{FF2B5EF4-FFF2-40B4-BE49-F238E27FC236}">
                  <a16:creationId xmlns:a16="http://schemas.microsoft.com/office/drawing/2014/main" id="{0BEB1D4E-05CE-FF78-9FBD-6F4FCF5ADDD4}"/>
                </a:ext>
              </a:extLst>
            </p:cNvPr>
            <p:cNvSpPr txBox="1"/>
            <p:nvPr/>
          </p:nvSpPr>
          <p:spPr>
            <a:xfrm>
              <a:off x="1823465" y="4506328"/>
              <a:ext cx="1135505" cy="579097"/>
            </a:xfrm>
            <a:prstGeom prst="rect">
              <a:avLst/>
            </a:prstGeom>
            <a:noFill/>
          </p:spPr>
          <p:txBody>
            <a:bodyPr wrap="square">
              <a:spAutoFit/>
            </a:bodyPr>
            <a:lstStyle/>
            <a:p>
              <a:pPr algn="ctr"/>
              <a:r>
                <a:rPr lang="en-GB" sz="1000" b="1">
                  <a:solidFill>
                    <a:srgbClr val="0A1D3D"/>
                  </a:solidFill>
                  <a:latin typeface="Tahoma" panose="020B0604030504040204" pitchFamily="34" charset="0"/>
                  <a:ea typeface="Tahoma" panose="020B0604030504040204" pitchFamily="34" charset="0"/>
                  <a:cs typeface="Tahoma" panose="020B0604030504040204" pitchFamily="34" charset="0"/>
                </a:rPr>
                <a:t>March 2015</a:t>
              </a:r>
              <a:endParaRPr lang="en-GB" sz="1000"/>
            </a:p>
          </p:txBody>
        </p:sp>
      </p:grpSp>
      <p:pic>
        <p:nvPicPr>
          <p:cNvPr id="30" name="Picture 29">
            <a:extLst>
              <a:ext uri="{FF2B5EF4-FFF2-40B4-BE49-F238E27FC236}">
                <a16:creationId xmlns:a16="http://schemas.microsoft.com/office/drawing/2014/main" id="{BA78C162-2688-56CB-A578-48198A3E43D7}"/>
              </a:ext>
            </a:extLst>
          </p:cNvPr>
          <p:cNvPicPr>
            <a:picLocks noChangeAspect="1"/>
          </p:cNvPicPr>
          <p:nvPr/>
        </p:nvPicPr>
        <p:blipFill>
          <a:blip r:embed="rId12"/>
          <a:stretch>
            <a:fillRect/>
          </a:stretch>
        </p:blipFill>
        <p:spPr>
          <a:xfrm>
            <a:off x="1904493" y="2942965"/>
            <a:ext cx="2214640" cy="453289"/>
          </a:xfrm>
          <a:prstGeom prst="rect">
            <a:avLst/>
          </a:prstGeom>
        </p:spPr>
      </p:pic>
      <p:cxnSp>
        <p:nvCxnSpPr>
          <p:cNvPr id="33" name="Straight Connector 32">
            <a:extLst>
              <a:ext uri="{FF2B5EF4-FFF2-40B4-BE49-F238E27FC236}">
                <a16:creationId xmlns:a16="http://schemas.microsoft.com/office/drawing/2014/main" id="{1E84A674-365C-E436-E49B-A9525CA9D3E3}"/>
              </a:ext>
            </a:extLst>
          </p:cNvPr>
          <p:cNvCxnSpPr>
            <a:cxnSpLocks/>
          </p:cNvCxnSpPr>
          <p:nvPr/>
        </p:nvCxnSpPr>
        <p:spPr>
          <a:xfrm>
            <a:off x="200250" y="2834640"/>
            <a:ext cx="4005990" cy="0"/>
          </a:xfrm>
          <a:prstGeom prst="line">
            <a:avLst/>
          </a:prstGeom>
          <a:ln w="19050">
            <a:solidFill>
              <a:srgbClr val="242F58"/>
            </a:solidFill>
            <a:prstDash val="sys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815D0FF-7D1C-84CB-4118-322C84829B7A}"/>
              </a:ext>
            </a:extLst>
          </p:cNvPr>
          <p:cNvSpPr txBox="1"/>
          <p:nvPr/>
        </p:nvSpPr>
        <p:spPr>
          <a:xfrm>
            <a:off x="4474266" y="2124147"/>
            <a:ext cx="4335393" cy="369332"/>
          </a:xfrm>
          <a:prstGeom prst="rect">
            <a:avLst/>
          </a:prstGeom>
          <a:noFill/>
        </p:spPr>
        <p:txBody>
          <a:bodyPr wrap="square">
            <a:spAutoFit/>
          </a:bodyPr>
          <a:lstStyle/>
          <a:p>
            <a:pPr algn="ctr">
              <a:spcAft>
                <a:spcPts val="600"/>
              </a:spcAft>
            </a:pPr>
            <a:r>
              <a:rPr lang="nl-NL" sz="1800" b="1" err="1">
                <a:solidFill>
                  <a:srgbClr val="0F1A42"/>
                </a:solidFill>
                <a:latin typeface="Tahoma" panose="020B0604030504040204" pitchFamily="34" charset="0"/>
                <a:ea typeface="Tahoma" panose="020B0604030504040204" pitchFamily="34" charset="0"/>
                <a:cs typeface="Tahoma" panose="020B0604030504040204" pitchFamily="34" charset="0"/>
              </a:rPr>
              <a:t>Followers</a:t>
            </a:r>
            <a:r>
              <a:rPr lang="nl-NL" sz="1800" b="1">
                <a:solidFill>
                  <a:srgbClr val="0F1A42"/>
                </a:solidFill>
                <a:latin typeface="Tahoma" panose="020B0604030504040204" pitchFamily="34" charset="0"/>
                <a:ea typeface="Tahoma" panose="020B0604030504040204" pitchFamily="34" charset="0"/>
                <a:cs typeface="Tahoma" panose="020B0604030504040204" pitchFamily="34" charset="0"/>
              </a:rPr>
              <a:t> over time</a:t>
            </a:r>
          </a:p>
        </p:txBody>
      </p:sp>
    </p:spTree>
    <p:extLst>
      <p:ext uri="{BB962C8B-B14F-4D97-AF65-F5344CB8AC3E}">
        <p14:creationId xmlns:p14="http://schemas.microsoft.com/office/powerpoint/2010/main" val="1533416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AFB37-1E2A-DE62-BAD4-EC29286C407E}"/>
              </a:ext>
            </a:extLst>
          </p:cNvPr>
          <p:cNvSpPr>
            <a:spLocks noGrp="1"/>
          </p:cNvSpPr>
          <p:nvPr>
            <p:ph type="title"/>
          </p:nvPr>
        </p:nvSpPr>
        <p:spPr/>
        <p:txBody>
          <a:bodyPr/>
          <a:lstStyle/>
          <a:p>
            <a:r>
              <a:rPr lang="en-GB"/>
              <a:t>Feature: </a:t>
            </a:r>
            <a:r>
              <a:rPr lang="en-GB" err="1"/>
              <a:t>Has_Brand_logo</a:t>
            </a:r>
            <a:endParaRPr lang="en-GB"/>
          </a:p>
        </p:txBody>
      </p:sp>
      <p:sp>
        <p:nvSpPr>
          <p:cNvPr id="3" name="Text Placeholder 2">
            <a:extLst>
              <a:ext uri="{FF2B5EF4-FFF2-40B4-BE49-F238E27FC236}">
                <a16:creationId xmlns:a16="http://schemas.microsoft.com/office/drawing/2014/main" id="{4A6A1F9C-4EB2-AEAD-2979-00FC45FE99E5}"/>
              </a:ext>
            </a:extLst>
          </p:cNvPr>
          <p:cNvSpPr>
            <a:spLocks noGrp="1"/>
          </p:cNvSpPr>
          <p:nvPr>
            <p:ph type="body" idx="1"/>
          </p:nvPr>
        </p:nvSpPr>
        <p:spPr>
          <a:xfrm>
            <a:off x="573741" y="1215750"/>
            <a:ext cx="7704000" cy="3371490"/>
          </a:xfrm>
        </p:spPr>
        <p:txBody>
          <a:bodyPr/>
          <a:lstStyle/>
          <a:p>
            <a:pPr marL="139700" indent="0">
              <a:buNone/>
            </a:pPr>
            <a:r>
              <a:rPr lang="en-GB" b="1">
                <a:latin typeface="Tahoma" panose="020B0604030504040204" pitchFamily="34" charset="0"/>
                <a:ea typeface="Tahoma" panose="020B0604030504040204" pitchFamily="34" charset="0"/>
                <a:cs typeface="Tahoma" panose="020B0604030504040204" pitchFamily="34" charset="0"/>
              </a:rPr>
              <a:t>Reasoning: </a:t>
            </a:r>
            <a:r>
              <a:rPr lang="en-GB">
                <a:latin typeface="Tahoma" panose="020B0604030504040204" pitchFamily="34" charset="0"/>
                <a:ea typeface="Tahoma" panose="020B0604030504040204" pitchFamily="34" charset="0"/>
                <a:cs typeface="Tahoma" panose="020B0604030504040204" pitchFamily="34" charset="0"/>
              </a:rPr>
              <a:t>Including a brand logo can signify the main subject of the content, potentially suggesting a commercial intent behind the post.</a:t>
            </a: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a:p>
            <a:pPr marL="139700" indent="0">
              <a:buNone/>
            </a:pPr>
            <a:r>
              <a:rPr lang="en-GB" b="1">
                <a:latin typeface="Tahoma" panose="020B0604030504040204" pitchFamily="34" charset="0"/>
                <a:ea typeface="Tahoma" panose="020B0604030504040204" pitchFamily="34" charset="0"/>
                <a:cs typeface="Tahoma" panose="020B0604030504040204" pitchFamily="34" charset="0"/>
              </a:rPr>
              <a:t>Step 1</a:t>
            </a:r>
            <a:r>
              <a:rPr lang="en-GB">
                <a:latin typeface="Tahoma" panose="020B0604030504040204" pitchFamily="34" charset="0"/>
                <a:ea typeface="Tahoma" panose="020B0604030504040204" pitchFamily="34" charset="0"/>
                <a:cs typeface="Tahoma" panose="020B0604030504040204" pitchFamily="34" charset="0"/>
              </a:rPr>
              <a:t>: Google Vision API — Logo Detection</a:t>
            </a:r>
          </a:p>
          <a:p>
            <a:pPr marL="596900" lvl="1" indent="0">
              <a:buNone/>
            </a:pPr>
            <a:endParaRPr lang="en-GB">
              <a:latin typeface="Tahoma" panose="020B0604030504040204" pitchFamily="34" charset="0"/>
              <a:ea typeface="Tahoma" panose="020B0604030504040204" pitchFamily="34" charset="0"/>
              <a:cs typeface="Tahoma" panose="020B0604030504040204" pitchFamily="34" charset="0"/>
            </a:endParaRPr>
          </a:p>
          <a:p>
            <a:pPr marL="139700" indent="0">
              <a:buNone/>
            </a:pPr>
            <a:r>
              <a:rPr lang="en-GB" b="1">
                <a:latin typeface="Tahoma" panose="020B0604030504040204" pitchFamily="34" charset="0"/>
                <a:ea typeface="Tahoma" panose="020B0604030504040204" pitchFamily="34" charset="0"/>
                <a:cs typeface="Tahoma" panose="020B0604030504040204" pitchFamily="34" charset="0"/>
              </a:rPr>
              <a:t>Step 2</a:t>
            </a:r>
            <a:r>
              <a:rPr lang="en-GB">
                <a:latin typeface="Tahoma" panose="020B0604030504040204" pitchFamily="34" charset="0"/>
                <a:ea typeface="Tahoma" panose="020B0604030504040204" pitchFamily="34" charset="0"/>
                <a:cs typeface="Tahoma" panose="020B0604030504040204" pitchFamily="34" charset="0"/>
              </a:rPr>
              <a:t>: Filter</a:t>
            </a: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a:p>
            <a:pPr marL="139700" indent="0">
              <a:buNone/>
            </a:pPr>
            <a:endParaRPr lang="en-GB" b="1">
              <a:latin typeface="Tahoma" panose="020B0604030504040204" pitchFamily="34" charset="0"/>
              <a:ea typeface="Tahoma" panose="020B0604030504040204" pitchFamily="34" charset="0"/>
              <a:cs typeface="Tahoma" panose="020B0604030504040204" pitchFamily="34" charset="0"/>
            </a:endParaRPr>
          </a:p>
        </p:txBody>
      </p:sp>
      <p:pic>
        <p:nvPicPr>
          <p:cNvPr id="1028" name="Picture 4" descr="Google Vision - Logo Recognition Plugin | Bubble">
            <a:extLst>
              <a:ext uri="{FF2B5EF4-FFF2-40B4-BE49-F238E27FC236}">
                <a16:creationId xmlns:a16="http://schemas.microsoft.com/office/drawing/2014/main" id="{F185707F-F015-0952-7BED-4D19308BCB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7912" y="4177400"/>
            <a:ext cx="754164" cy="7541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group of women in uniform&#10;&#10;Description automatically generated">
            <a:extLst>
              <a:ext uri="{FF2B5EF4-FFF2-40B4-BE49-F238E27FC236}">
                <a16:creationId xmlns:a16="http://schemas.microsoft.com/office/drawing/2014/main" id="{2289EBAE-1676-DB55-C901-92DFB141AA3B}"/>
              </a:ext>
            </a:extLst>
          </p:cNvPr>
          <p:cNvPicPr>
            <a:picLocks noChangeAspect="1"/>
          </p:cNvPicPr>
          <p:nvPr/>
        </p:nvPicPr>
        <p:blipFill>
          <a:blip r:embed="rId5"/>
          <a:stretch>
            <a:fillRect/>
          </a:stretch>
        </p:blipFill>
        <p:spPr>
          <a:xfrm>
            <a:off x="5625989" y="1776584"/>
            <a:ext cx="2798011" cy="2386899"/>
          </a:xfrm>
          <a:prstGeom prst="rect">
            <a:avLst/>
          </a:prstGeom>
        </p:spPr>
      </p:pic>
      <p:pic>
        <p:nvPicPr>
          <p:cNvPr id="21" name="Picture 20">
            <a:extLst>
              <a:ext uri="{FF2B5EF4-FFF2-40B4-BE49-F238E27FC236}">
                <a16:creationId xmlns:a16="http://schemas.microsoft.com/office/drawing/2014/main" id="{B3D55903-DBF5-8858-2767-3D24E961D4EA}"/>
              </a:ext>
            </a:extLst>
          </p:cNvPr>
          <p:cNvPicPr>
            <a:picLocks noChangeAspect="1"/>
          </p:cNvPicPr>
          <p:nvPr/>
        </p:nvPicPr>
        <p:blipFill>
          <a:blip r:embed="rId6"/>
          <a:srcRect/>
          <a:stretch/>
        </p:blipFill>
        <p:spPr>
          <a:xfrm>
            <a:off x="2447732" y="2686108"/>
            <a:ext cx="2990777" cy="872310"/>
          </a:xfrm>
          <a:prstGeom prst="rect">
            <a:avLst/>
          </a:prstGeom>
        </p:spPr>
      </p:pic>
      <p:pic>
        <p:nvPicPr>
          <p:cNvPr id="5" name="Picture 4">
            <a:extLst>
              <a:ext uri="{FF2B5EF4-FFF2-40B4-BE49-F238E27FC236}">
                <a16:creationId xmlns:a16="http://schemas.microsoft.com/office/drawing/2014/main" id="{83BB01B7-1837-3BE2-292A-C8B7F55CC144}"/>
              </a:ext>
            </a:extLst>
          </p:cNvPr>
          <p:cNvPicPr>
            <a:picLocks noChangeAspect="1"/>
          </p:cNvPicPr>
          <p:nvPr/>
        </p:nvPicPr>
        <p:blipFill>
          <a:blip r:embed="rId7"/>
          <a:stretch>
            <a:fillRect/>
          </a:stretch>
        </p:blipFill>
        <p:spPr>
          <a:xfrm>
            <a:off x="720000" y="2619442"/>
            <a:ext cx="1581473" cy="2327362"/>
          </a:xfrm>
          <a:prstGeom prst="rect">
            <a:avLst/>
          </a:prstGeom>
        </p:spPr>
      </p:pic>
      <p:sp>
        <p:nvSpPr>
          <p:cNvPr id="11" name="TextBox 10">
            <a:extLst>
              <a:ext uri="{FF2B5EF4-FFF2-40B4-BE49-F238E27FC236}">
                <a16:creationId xmlns:a16="http://schemas.microsoft.com/office/drawing/2014/main" id="{0E82269B-714C-4588-E295-8C07E620CDAA}"/>
              </a:ext>
            </a:extLst>
          </p:cNvPr>
          <p:cNvSpPr txBox="1"/>
          <p:nvPr/>
        </p:nvSpPr>
        <p:spPr>
          <a:xfrm>
            <a:off x="2440325" y="3703497"/>
            <a:ext cx="2998184" cy="738664"/>
          </a:xfrm>
          <a:prstGeom prst="rect">
            <a:avLst/>
          </a:prstGeom>
          <a:noFill/>
        </p:spPr>
        <p:txBody>
          <a:bodyPr wrap="square">
            <a:spAutoFit/>
          </a:bodyPr>
          <a:lstStyle/>
          <a:p>
            <a:pPr marL="139700" indent="0" algn="ctr">
              <a:buNone/>
            </a:pPr>
            <a:r>
              <a:rPr lang="en-GB" b="1">
                <a:latin typeface="Tahoma" panose="020B0604030504040204" pitchFamily="34" charset="0"/>
                <a:ea typeface="Tahoma" panose="020B0604030504040204" pitchFamily="34" charset="0"/>
                <a:cs typeface="Tahoma" panose="020B0604030504040204" pitchFamily="34" charset="0"/>
              </a:rPr>
              <a:t>Step 3</a:t>
            </a:r>
            <a:r>
              <a:rPr lang="en-GB">
                <a:latin typeface="Tahoma" panose="020B0604030504040204" pitchFamily="34" charset="0"/>
                <a:ea typeface="Tahoma" panose="020B0604030504040204" pitchFamily="34" charset="0"/>
                <a:cs typeface="Tahoma" panose="020B0604030504040204" pitchFamily="34" charset="0"/>
              </a:rPr>
              <a:t>: has_brand_logo feature</a:t>
            </a:r>
          </a:p>
          <a:p>
            <a:pPr marL="139700" indent="0" algn="ctr">
              <a:buNone/>
            </a:pPr>
            <a:r>
              <a:rPr lang="en-GB">
                <a:latin typeface="Tahoma" panose="020B0604030504040204" pitchFamily="34" charset="0"/>
                <a:ea typeface="Tahoma" panose="020B0604030504040204" pitchFamily="34" charset="0"/>
                <a:cs typeface="Tahoma" panose="020B0604030504040204" pitchFamily="34" charset="0"/>
              </a:rPr>
              <a:t>if picture has at least one of the specified Logo’s</a:t>
            </a:r>
          </a:p>
        </p:txBody>
      </p:sp>
    </p:spTree>
    <p:extLst>
      <p:ext uri="{BB962C8B-B14F-4D97-AF65-F5344CB8AC3E}">
        <p14:creationId xmlns:p14="http://schemas.microsoft.com/office/powerpoint/2010/main" val="4114476783"/>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F4703F-29AC-F11A-AB6D-0AD477CEBF05}"/>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549474" y="157573"/>
            <a:ext cx="7704000" cy="572700"/>
          </a:xfrm>
        </p:spPr>
        <p:txBody>
          <a:bodyPr/>
          <a:lstStyle/>
          <a:p>
            <a:r>
              <a:rPr lang="en-GB"/>
              <a:t>FEATURES: HAS_AIRPLANE (part1)</a:t>
            </a:r>
          </a:p>
        </p:txBody>
      </p:sp>
      <p:sp>
        <p:nvSpPr>
          <p:cNvPr id="10" name="TextBox 9">
            <a:extLst>
              <a:ext uri="{FF2B5EF4-FFF2-40B4-BE49-F238E27FC236}">
                <a16:creationId xmlns:a16="http://schemas.microsoft.com/office/drawing/2014/main" id="{7D275332-3911-8A7E-BCDE-CC0759D7C73C}"/>
              </a:ext>
            </a:extLst>
          </p:cNvPr>
          <p:cNvSpPr txBox="1"/>
          <p:nvPr/>
        </p:nvSpPr>
        <p:spPr>
          <a:xfrm>
            <a:off x="130377" y="1624726"/>
            <a:ext cx="1429986" cy="276999"/>
          </a:xfrm>
          <a:prstGeom prst="rect">
            <a:avLst/>
          </a:prstGeom>
          <a:noFill/>
        </p:spPr>
        <p:txBody>
          <a:bodyPr wrap="square" rtlCol="0">
            <a:spAutoFit/>
          </a:bodyPr>
          <a:lstStyle/>
          <a:p>
            <a:pPr algn="ctr"/>
            <a:r>
              <a:rPr lang="en-GB" sz="1200" b="1" dirty="0">
                <a:solidFill>
                  <a:srgbClr val="0F1A42"/>
                </a:solidFill>
                <a:latin typeface="Tahoma" panose="020B0604030504040204" pitchFamily="34" charset="0"/>
                <a:ea typeface="Tahoma" panose="020B0604030504040204" pitchFamily="34" charset="0"/>
                <a:cs typeface="Tahoma" panose="020B0604030504040204" pitchFamily="34" charset="0"/>
              </a:rPr>
              <a:t>24 000+ images</a:t>
            </a:r>
          </a:p>
        </p:txBody>
      </p:sp>
      <p:cxnSp>
        <p:nvCxnSpPr>
          <p:cNvPr id="13" name="Straight Arrow Connector 12">
            <a:extLst>
              <a:ext uri="{FF2B5EF4-FFF2-40B4-BE49-F238E27FC236}">
                <a16:creationId xmlns:a16="http://schemas.microsoft.com/office/drawing/2014/main" id="{865C1562-4AAA-B4C2-D8F4-624028CEAB98}"/>
              </a:ext>
            </a:extLst>
          </p:cNvPr>
          <p:cNvCxnSpPr/>
          <p:nvPr/>
        </p:nvCxnSpPr>
        <p:spPr>
          <a:xfrm>
            <a:off x="1579942" y="1747596"/>
            <a:ext cx="518160" cy="0"/>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4" descr="Google Vision - Logo Recognition Plugin | Bubble">
            <a:extLst>
              <a:ext uri="{FF2B5EF4-FFF2-40B4-BE49-F238E27FC236}">
                <a16:creationId xmlns:a16="http://schemas.microsoft.com/office/drawing/2014/main" id="{7C6C4867-F7CC-4270-B52B-10EFCAD3F8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7026" y="1038023"/>
            <a:ext cx="606936" cy="60693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7D19ABE-1930-D6EB-E76D-53033A5857F9}"/>
              </a:ext>
            </a:extLst>
          </p:cNvPr>
          <p:cNvSpPr txBox="1"/>
          <p:nvPr/>
        </p:nvSpPr>
        <p:spPr>
          <a:xfrm>
            <a:off x="4145897" y="1409163"/>
            <a:ext cx="2521604" cy="738664"/>
          </a:xfrm>
          <a:prstGeom prst="rect">
            <a:avLst/>
          </a:prstGeom>
          <a:noFill/>
        </p:spPr>
        <p:txBody>
          <a:bodyPr wrap="square">
            <a:spAutoFit/>
          </a:bodyPr>
          <a:lstStyle/>
          <a:p>
            <a:r>
              <a:rPr lang="en-GB" sz="1050" b="1" i="0">
                <a:solidFill>
                  <a:srgbClr val="0F1A42"/>
                </a:solidFill>
                <a:effectLst/>
                <a:latin typeface="Tahoma" panose="020B0604030504040204" pitchFamily="34" charset="0"/>
                <a:ea typeface="Tahoma" panose="020B0604030504040204" pitchFamily="34" charset="0"/>
                <a:cs typeface="Tahoma" panose="020B0604030504040204" pitchFamily="34" charset="0"/>
              </a:rPr>
              <a:t>1. Water (0.96</a:t>
            </a:r>
            <a:r>
              <a:rPr lang="en-GB" sz="1050" b="1">
                <a:solidFill>
                  <a:srgbClr val="0F1A42"/>
                </a:solidFill>
                <a:latin typeface="Tahoma" panose="020B0604030504040204" pitchFamily="34" charset="0"/>
                <a:ea typeface="Tahoma" panose="020B0604030504040204" pitchFamily="34" charset="0"/>
                <a:cs typeface="Tahoma" panose="020B0604030504040204" pitchFamily="34" charset="0"/>
              </a:rPr>
              <a:t>)</a:t>
            </a:r>
            <a:endParaRPr lang="en-GB" sz="1050" b="1" i="0">
              <a:solidFill>
                <a:srgbClr val="0F1A42"/>
              </a:solidFill>
              <a:effectLst/>
              <a:latin typeface="Tahoma" panose="020B0604030504040204" pitchFamily="34" charset="0"/>
              <a:ea typeface="Tahoma" panose="020B0604030504040204" pitchFamily="34" charset="0"/>
              <a:cs typeface="Tahoma" panose="020B0604030504040204" pitchFamily="34" charset="0"/>
            </a:endParaRPr>
          </a:p>
          <a:p>
            <a:r>
              <a:rPr lang="en-GB" sz="1050" b="1" i="0">
                <a:solidFill>
                  <a:srgbClr val="0F1A42"/>
                </a:solidFill>
                <a:effectLst/>
                <a:latin typeface="Tahoma" panose="020B0604030504040204" pitchFamily="34" charset="0"/>
                <a:ea typeface="Tahoma" panose="020B0604030504040204" pitchFamily="34" charset="0"/>
                <a:cs typeface="Tahoma" panose="020B0604030504040204" pitchFamily="34" charset="0"/>
              </a:rPr>
              <a:t>…</a:t>
            </a:r>
          </a:p>
          <a:p>
            <a:r>
              <a:rPr lang="en-GB" sz="1050" b="1">
                <a:solidFill>
                  <a:srgbClr val="0F1A42"/>
                </a:solidFill>
                <a:latin typeface="Tahoma" panose="020B0604030504040204" pitchFamily="34" charset="0"/>
                <a:ea typeface="Tahoma" panose="020B0604030504040204" pitchFamily="34" charset="0"/>
                <a:cs typeface="Tahoma" panose="020B0604030504040204" pitchFamily="34" charset="0"/>
              </a:rPr>
              <a:t>10. </a:t>
            </a:r>
            <a:r>
              <a:rPr lang="en-GB" sz="1050" b="1" i="0">
                <a:solidFill>
                  <a:srgbClr val="0F1A42"/>
                </a:solidFill>
                <a:effectLst/>
                <a:latin typeface="Tahoma" panose="020B0604030504040204" pitchFamily="34" charset="0"/>
                <a:ea typeface="Tahoma" panose="020B0604030504040204" pitchFamily="34" charset="0"/>
                <a:cs typeface="Tahoma" panose="020B0604030504040204" pitchFamily="34" charset="0"/>
              </a:rPr>
              <a:t>Sky (0.78)</a:t>
            </a:r>
            <a:endParaRPr lang="en-GB" sz="1050" b="1">
              <a:solidFill>
                <a:srgbClr val="0F1A42"/>
              </a:solidFill>
              <a:latin typeface="Tahoma" panose="020B0604030504040204" pitchFamily="34" charset="0"/>
              <a:ea typeface="Tahoma" panose="020B0604030504040204" pitchFamily="34" charset="0"/>
              <a:cs typeface="Tahoma" panose="020B0604030504040204" pitchFamily="34" charset="0"/>
            </a:endParaRPr>
          </a:p>
          <a:p>
            <a:endParaRPr lang="en-GB" sz="105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9" name="Picture 18" descr="A door open to a lake&#10;&#10;Description automatically generated">
            <a:extLst>
              <a:ext uri="{FF2B5EF4-FFF2-40B4-BE49-F238E27FC236}">
                <a16:creationId xmlns:a16="http://schemas.microsoft.com/office/drawing/2014/main" id="{6EC77F68-51CE-6054-F55E-5C0D23892F60}"/>
              </a:ext>
            </a:extLst>
          </p:cNvPr>
          <p:cNvPicPr>
            <a:picLocks noChangeAspect="1"/>
          </p:cNvPicPr>
          <p:nvPr/>
        </p:nvPicPr>
        <p:blipFill>
          <a:blip r:embed="rId4"/>
          <a:stretch>
            <a:fillRect/>
          </a:stretch>
        </p:blipFill>
        <p:spPr>
          <a:xfrm>
            <a:off x="353651" y="1124307"/>
            <a:ext cx="491719" cy="491719"/>
          </a:xfrm>
          <a:prstGeom prst="rect">
            <a:avLst/>
          </a:prstGeom>
        </p:spPr>
      </p:pic>
      <p:pic>
        <p:nvPicPr>
          <p:cNvPr id="21" name="Picture 20">
            <a:extLst>
              <a:ext uri="{FF2B5EF4-FFF2-40B4-BE49-F238E27FC236}">
                <a16:creationId xmlns:a16="http://schemas.microsoft.com/office/drawing/2014/main" id="{4D0FFD5C-BA93-7162-7B34-1DE701F9F9DB}"/>
              </a:ext>
            </a:extLst>
          </p:cNvPr>
          <p:cNvPicPr>
            <a:picLocks noChangeAspect="1"/>
          </p:cNvPicPr>
          <p:nvPr/>
        </p:nvPicPr>
        <p:blipFill>
          <a:blip r:embed="rId5"/>
          <a:stretch>
            <a:fillRect/>
          </a:stretch>
        </p:blipFill>
        <p:spPr>
          <a:xfrm>
            <a:off x="923131" y="1133007"/>
            <a:ext cx="483591" cy="491719"/>
          </a:xfrm>
          <a:prstGeom prst="rect">
            <a:avLst/>
          </a:prstGeom>
        </p:spPr>
      </p:pic>
      <p:sp>
        <p:nvSpPr>
          <p:cNvPr id="22" name="TextBox 21">
            <a:extLst>
              <a:ext uri="{FF2B5EF4-FFF2-40B4-BE49-F238E27FC236}">
                <a16:creationId xmlns:a16="http://schemas.microsoft.com/office/drawing/2014/main" id="{36204A67-760C-681E-C9D8-A81A68229851}"/>
              </a:ext>
            </a:extLst>
          </p:cNvPr>
          <p:cNvSpPr txBox="1"/>
          <p:nvPr/>
        </p:nvSpPr>
        <p:spPr>
          <a:xfrm>
            <a:off x="2030223" y="1624726"/>
            <a:ext cx="1539644" cy="461665"/>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Google Vision API</a:t>
            </a:r>
          </a:p>
        </p:txBody>
      </p:sp>
      <p:cxnSp>
        <p:nvCxnSpPr>
          <p:cNvPr id="24" name="Straight Arrow Connector 23">
            <a:extLst>
              <a:ext uri="{FF2B5EF4-FFF2-40B4-BE49-F238E27FC236}">
                <a16:creationId xmlns:a16="http://schemas.microsoft.com/office/drawing/2014/main" id="{70BE8564-36D3-79FC-250C-36DBF5020848}"/>
              </a:ext>
            </a:extLst>
          </p:cNvPr>
          <p:cNvCxnSpPr/>
          <p:nvPr/>
        </p:nvCxnSpPr>
        <p:spPr>
          <a:xfrm>
            <a:off x="3569867" y="1747596"/>
            <a:ext cx="518160" cy="0"/>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86D11C3-4C70-9CAF-6FF8-290DDDD3ED99}"/>
              </a:ext>
            </a:extLst>
          </p:cNvPr>
          <p:cNvSpPr txBox="1"/>
          <p:nvPr/>
        </p:nvSpPr>
        <p:spPr>
          <a:xfrm>
            <a:off x="1461052" y="1409163"/>
            <a:ext cx="755940" cy="276999"/>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Input</a:t>
            </a:r>
          </a:p>
        </p:txBody>
      </p:sp>
      <p:sp>
        <p:nvSpPr>
          <p:cNvPr id="26" name="TextBox 25">
            <a:extLst>
              <a:ext uri="{FF2B5EF4-FFF2-40B4-BE49-F238E27FC236}">
                <a16:creationId xmlns:a16="http://schemas.microsoft.com/office/drawing/2014/main" id="{FC494CF7-066E-2C4E-5945-0C3713C4E5F1}"/>
              </a:ext>
            </a:extLst>
          </p:cNvPr>
          <p:cNvSpPr txBox="1"/>
          <p:nvPr/>
        </p:nvSpPr>
        <p:spPr>
          <a:xfrm>
            <a:off x="3418754" y="1409163"/>
            <a:ext cx="755940" cy="276999"/>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Output</a:t>
            </a:r>
          </a:p>
        </p:txBody>
      </p:sp>
      <p:sp>
        <p:nvSpPr>
          <p:cNvPr id="31" name="TextBox 30">
            <a:extLst>
              <a:ext uri="{FF2B5EF4-FFF2-40B4-BE49-F238E27FC236}">
                <a16:creationId xmlns:a16="http://schemas.microsoft.com/office/drawing/2014/main" id="{0FD7F130-B8DF-40B3-B042-C55965A59087}"/>
              </a:ext>
            </a:extLst>
          </p:cNvPr>
          <p:cNvSpPr txBox="1"/>
          <p:nvPr/>
        </p:nvSpPr>
        <p:spPr>
          <a:xfrm>
            <a:off x="168915" y="3305934"/>
            <a:ext cx="1429986" cy="461665"/>
          </a:xfrm>
          <a:prstGeom prst="rect">
            <a:avLst/>
          </a:prstGeom>
          <a:noFill/>
        </p:spPr>
        <p:txBody>
          <a:bodyPr wrap="square" rtlCol="0">
            <a:spAutoFit/>
          </a:bodyPr>
          <a:lstStyle/>
          <a:p>
            <a:pPr algn="ctr"/>
            <a:r>
              <a:rPr lang="en-GB" sz="1200" b="1" dirty="0">
                <a:solidFill>
                  <a:srgbClr val="0F1A42"/>
                </a:solidFill>
                <a:latin typeface="Tahoma" panose="020B0604030504040204" pitchFamily="34" charset="0"/>
                <a:ea typeface="Tahoma" panose="020B0604030504040204" pitchFamily="34" charset="0"/>
                <a:cs typeface="Tahoma" panose="020B0604030504040204" pitchFamily="34" charset="0"/>
              </a:rPr>
              <a:t>Random subset of 2200 images</a:t>
            </a:r>
          </a:p>
        </p:txBody>
      </p:sp>
      <p:pic>
        <p:nvPicPr>
          <p:cNvPr id="33" name="Picture 32">
            <a:extLst>
              <a:ext uri="{FF2B5EF4-FFF2-40B4-BE49-F238E27FC236}">
                <a16:creationId xmlns:a16="http://schemas.microsoft.com/office/drawing/2014/main" id="{2F505468-6022-B82E-A96B-B69EE2728F83}"/>
              </a:ext>
            </a:extLst>
          </p:cNvPr>
          <p:cNvPicPr>
            <a:picLocks noChangeAspect="1"/>
          </p:cNvPicPr>
          <p:nvPr/>
        </p:nvPicPr>
        <p:blipFill>
          <a:blip r:embed="rId6"/>
          <a:stretch>
            <a:fillRect/>
          </a:stretch>
        </p:blipFill>
        <p:spPr>
          <a:xfrm>
            <a:off x="337872" y="2800625"/>
            <a:ext cx="483745" cy="491719"/>
          </a:xfrm>
          <a:prstGeom prst="rect">
            <a:avLst/>
          </a:prstGeom>
        </p:spPr>
      </p:pic>
      <p:pic>
        <p:nvPicPr>
          <p:cNvPr id="36" name="Picture 35">
            <a:extLst>
              <a:ext uri="{FF2B5EF4-FFF2-40B4-BE49-F238E27FC236}">
                <a16:creationId xmlns:a16="http://schemas.microsoft.com/office/drawing/2014/main" id="{0CD2BDE8-3B11-FB5B-E0F4-C7736F91FEE3}"/>
              </a:ext>
            </a:extLst>
          </p:cNvPr>
          <p:cNvPicPr>
            <a:picLocks noChangeAspect="1"/>
          </p:cNvPicPr>
          <p:nvPr/>
        </p:nvPicPr>
        <p:blipFill>
          <a:blip r:embed="rId7"/>
          <a:srcRect/>
          <a:stretch/>
        </p:blipFill>
        <p:spPr>
          <a:xfrm>
            <a:off x="886382" y="2805447"/>
            <a:ext cx="483745" cy="482074"/>
          </a:xfrm>
          <a:prstGeom prst="rect">
            <a:avLst/>
          </a:prstGeom>
        </p:spPr>
      </p:pic>
      <p:cxnSp>
        <p:nvCxnSpPr>
          <p:cNvPr id="37" name="Straight Arrow Connector 36">
            <a:extLst>
              <a:ext uri="{FF2B5EF4-FFF2-40B4-BE49-F238E27FC236}">
                <a16:creationId xmlns:a16="http://schemas.microsoft.com/office/drawing/2014/main" id="{B0089323-5C51-C1FC-A9A9-D2CAFB3B5F13}"/>
              </a:ext>
            </a:extLst>
          </p:cNvPr>
          <p:cNvCxnSpPr>
            <a:cxnSpLocks/>
          </p:cNvCxnSpPr>
          <p:nvPr/>
        </p:nvCxnSpPr>
        <p:spPr>
          <a:xfrm>
            <a:off x="1628500" y="3533592"/>
            <a:ext cx="1022367" cy="0"/>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66CBD-A572-FEFE-E36E-75EF285C884C}"/>
              </a:ext>
            </a:extLst>
          </p:cNvPr>
          <p:cNvSpPr txBox="1"/>
          <p:nvPr/>
        </p:nvSpPr>
        <p:spPr>
          <a:xfrm>
            <a:off x="1664965" y="3010492"/>
            <a:ext cx="949436" cy="461665"/>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Manual labelling</a:t>
            </a:r>
          </a:p>
        </p:txBody>
      </p:sp>
      <p:sp>
        <p:nvSpPr>
          <p:cNvPr id="42" name="TextBox 41">
            <a:extLst>
              <a:ext uri="{FF2B5EF4-FFF2-40B4-BE49-F238E27FC236}">
                <a16:creationId xmlns:a16="http://schemas.microsoft.com/office/drawing/2014/main" id="{51067ACF-B1DF-0333-F33D-2D5B6B70860C}"/>
              </a:ext>
            </a:extLst>
          </p:cNvPr>
          <p:cNvSpPr txBox="1"/>
          <p:nvPr/>
        </p:nvSpPr>
        <p:spPr>
          <a:xfrm>
            <a:off x="6469862" y="2702899"/>
            <a:ext cx="1211343" cy="276999"/>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Training data</a:t>
            </a:r>
          </a:p>
        </p:txBody>
      </p:sp>
      <p:cxnSp>
        <p:nvCxnSpPr>
          <p:cNvPr id="45" name="Straight Arrow Connector 44">
            <a:extLst>
              <a:ext uri="{FF2B5EF4-FFF2-40B4-BE49-F238E27FC236}">
                <a16:creationId xmlns:a16="http://schemas.microsoft.com/office/drawing/2014/main" id="{B657CAA2-45B8-4FA4-1D7B-F921BDADD618}"/>
              </a:ext>
            </a:extLst>
          </p:cNvPr>
          <p:cNvCxnSpPr>
            <a:cxnSpLocks/>
          </p:cNvCxnSpPr>
          <p:nvPr/>
        </p:nvCxnSpPr>
        <p:spPr>
          <a:xfrm>
            <a:off x="5352269" y="1686162"/>
            <a:ext cx="964435" cy="0"/>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63D1A8A-80DF-63D3-D257-A35DCF56272D}"/>
              </a:ext>
            </a:extLst>
          </p:cNvPr>
          <p:cNvSpPr txBox="1"/>
          <p:nvPr/>
        </p:nvSpPr>
        <p:spPr>
          <a:xfrm>
            <a:off x="5141065" y="978395"/>
            <a:ext cx="1386841" cy="646331"/>
          </a:xfrm>
          <a:prstGeom prst="rect">
            <a:avLst/>
          </a:prstGeom>
          <a:noFill/>
        </p:spPr>
        <p:txBody>
          <a:bodyPr wrap="square" rtlCol="0">
            <a:spAutoFit/>
          </a:bodyPr>
          <a:lstStyle/>
          <a:p>
            <a:pPr algn="ctr"/>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30 most frequent as dummies</a:t>
            </a:r>
          </a:p>
        </p:txBody>
      </p:sp>
      <p:graphicFrame>
        <p:nvGraphicFramePr>
          <p:cNvPr id="51" name="Table 50">
            <a:extLst>
              <a:ext uri="{FF2B5EF4-FFF2-40B4-BE49-F238E27FC236}">
                <a16:creationId xmlns:a16="http://schemas.microsoft.com/office/drawing/2014/main" id="{794A563F-279D-79A1-05C6-C667A47C578A}"/>
              </a:ext>
            </a:extLst>
          </p:cNvPr>
          <p:cNvGraphicFramePr>
            <a:graphicFrameLocks noGrp="1"/>
          </p:cNvGraphicFramePr>
          <p:nvPr>
            <p:extLst>
              <p:ext uri="{D42A27DB-BD31-4B8C-83A1-F6EECF244321}">
                <p14:modId xmlns:p14="http://schemas.microsoft.com/office/powerpoint/2010/main" val="767734817"/>
              </p:ext>
            </p:extLst>
          </p:nvPr>
        </p:nvGraphicFramePr>
        <p:xfrm>
          <a:off x="6391488" y="1133007"/>
          <a:ext cx="2521605" cy="965056"/>
        </p:xfrm>
        <a:graphic>
          <a:graphicData uri="http://schemas.openxmlformats.org/drawingml/2006/table">
            <a:tbl>
              <a:tblPr firstRow="1" bandRow="1">
                <a:tableStyleId>{2D5ABB26-0587-4C30-8999-92F81FD0307C}</a:tableStyleId>
              </a:tblPr>
              <a:tblGrid>
                <a:gridCol w="870421">
                  <a:extLst>
                    <a:ext uri="{9D8B030D-6E8A-4147-A177-3AD203B41FA5}">
                      <a16:colId xmlns:a16="http://schemas.microsoft.com/office/drawing/2014/main" val="3858654319"/>
                    </a:ext>
                  </a:extLst>
                </a:gridCol>
                <a:gridCol w="670511">
                  <a:extLst>
                    <a:ext uri="{9D8B030D-6E8A-4147-A177-3AD203B41FA5}">
                      <a16:colId xmlns:a16="http://schemas.microsoft.com/office/drawing/2014/main" val="2496725530"/>
                    </a:ext>
                  </a:extLst>
                </a:gridCol>
                <a:gridCol w="467622">
                  <a:extLst>
                    <a:ext uri="{9D8B030D-6E8A-4147-A177-3AD203B41FA5}">
                      <a16:colId xmlns:a16="http://schemas.microsoft.com/office/drawing/2014/main" val="853235382"/>
                    </a:ext>
                  </a:extLst>
                </a:gridCol>
                <a:gridCol w="513051">
                  <a:extLst>
                    <a:ext uri="{9D8B030D-6E8A-4147-A177-3AD203B41FA5}">
                      <a16:colId xmlns:a16="http://schemas.microsoft.com/office/drawing/2014/main" val="3546909000"/>
                    </a:ext>
                  </a:extLst>
                </a:gridCol>
              </a:tblGrid>
              <a:tr h="225432">
                <a:tc>
                  <a:txBody>
                    <a:bodyPr/>
                    <a:lstStyle/>
                    <a:p>
                      <a:pPr algn="ct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Post_id</a:t>
                      </a:r>
                    </a:p>
                  </a:txBody>
                  <a:tcPr>
                    <a:solidFill>
                      <a:srgbClr val="0F1A42"/>
                    </a:solidFill>
                  </a:tcPr>
                </a:tc>
                <a:tc>
                  <a:txBody>
                    <a:bodyPr/>
                    <a:lstStyle/>
                    <a:p>
                      <a:pPr algn="ct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Water</a:t>
                      </a:r>
                    </a:p>
                  </a:txBody>
                  <a:tcPr>
                    <a:solidFill>
                      <a:srgbClr val="0F1A42"/>
                    </a:solidFill>
                  </a:tcPr>
                </a:tc>
                <a:tc>
                  <a:txBody>
                    <a:bodyPr/>
                    <a:lstStyle/>
                    <a:p>
                      <a:pPr algn="ct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Sky</a:t>
                      </a:r>
                    </a:p>
                  </a:txBody>
                  <a:tcPr>
                    <a:solidFill>
                      <a:srgbClr val="0F1A42"/>
                    </a:solidFill>
                  </a:tcPr>
                </a:tc>
                <a:tc>
                  <a:txBody>
                    <a:bodyPr/>
                    <a:lstStyle/>
                    <a:p>
                      <a:pPr algn="ct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a:t>
                      </a:r>
                    </a:p>
                  </a:txBody>
                  <a:tcPr>
                    <a:solidFill>
                      <a:srgbClr val="0F1A42"/>
                    </a:solidFill>
                  </a:tcPr>
                </a:tc>
                <a:extLst>
                  <a:ext uri="{0D108BD9-81ED-4DB2-BD59-A6C34878D82A}">
                    <a16:rowId xmlns:a16="http://schemas.microsoft.com/office/drawing/2014/main" val="560442609"/>
                  </a:ext>
                </a:extLst>
              </a:tr>
              <a:tr h="218601">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xx_yy_yy</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0</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a:tc>
                <a:extLst>
                  <a:ext uri="{0D108BD9-81ED-4DB2-BD59-A6C34878D82A}">
                    <a16:rowId xmlns:a16="http://schemas.microsoft.com/office/drawing/2014/main" val="678063630"/>
                  </a:ext>
                </a:extLst>
              </a:tr>
              <a:tr h="218601">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yy_yy_yy</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a:tc>
                <a:extLst>
                  <a:ext uri="{0D108BD9-81ED-4DB2-BD59-A6C34878D82A}">
                    <a16:rowId xmlns:a16="http://schemas.microsoft.com/office/drawing/2014/main" val="2841910216"/>
                  </a:ext>
                </a:extLst>
              </a:tr>
              <a:tr h="225916">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tc>
                <a:extLst>
                  <a:ext uri="{0D108BD9-81ED-4DB2-BD59-A6C34878D82A}">
                    <a16:rowId xmlns:a16="http://schemas.microsoft.com/office/drawing/2014/main" val="3462030108"/>
                  </a:ext>
                </a:extLst>
              </a:tr>
            </a:tbl>
          </a:graphicData>
        </a:graphic>
      </p:graphicFrame>
      <p:graphicFrame>
        <p:nvGraphicFramePr>
          <p:cNvPr id="52" name="Table 51">
            <a:extLst>
              <a:ext uri="{FF2B5EF4-FFF2-40B4-BE49-F238E27FC236}">
                <a16:creationId xmlns:a16="http://schemas.microsoft.com/office/drawing/2014/main" id="{0900CC79-97B5-F285-E201-C010AC408B30}"/>
              </a:ext>
            </a:extLst>
          </p:cNvPr>
          <p:cNvGraphicFramePr>
            <a:graphicFrameLocks noGrp="1"/>
          </p:cNvGraphicFramePr>
          <p:nvPr>
            <p:extLst>
              <p:ext uri="{D42A27DB-BD31-4B8C-83A1-F6EECF244321}">
                <p14:modId xmlns:p14="http://schemas.microsoft.com/office/powerpoint/2010/main" val="35474239"/>
              </p:ext>
            </p:extLst>
          </p:nvPr>
        </p:nvGraphicFramePr>
        <p:xfrm>
          <a:off x="5582591" y="3044732"/>
          <a:ext cx="3337615" cy="928136"/>
        </p:xfrm>
        <a:graphic>
          <a:graphicData uri="http://schemas.openxmlformats.org/drawingml/2006/table">
            <a:tbl>
              <a:tblPr firstRow="1" bandRow="1">
                <a:tableStyleId>{2D5ABB26-0587-4C30-8999-92F81FD0307C}</a:tableStyleId>
              </a:tblPr>
              <a:tblGrid>
                <a:gridCol w="1008709">
                  <a:extLst>
                    <a:ext uri="{9D8B030D-6E8A-4147-A177-3AD203B41FA5}">
                      <a16:colId xmlns:a16="http://schemas.microsoft.com/office/drawing/2014/main" val="3858654319"/>
                    </a:ext>
                  </a:extLst>
                </a:gridCol>
                <a:gridCol w="594360">
                  <a:extLst>
                    <a:ext uri="{9D8B030D-6E8A-4147-A177-3AD203B41FA5}">
                      <a16:colId xmlns:a16="http://schemas.microsoft.com/office/drawing/2014/main" val="2496725530"/>
                    </a:ext>
                  </a:extLst>
                </a:gridCol>
                <a:gridCol w="464820">
                  <a:extLst>
                    <a:ext uri="{9D8B030D-6E8A-4147-A177-3AD203B41FA5}">
                      <a16:colId xmlns:a16="http://schemas.microsoft.com/office/drawing/2014/main" val="853235382"/>
                    </a:ext>
                  </a:extLst>
                </a:gridCol>
                <a:gridCol w="223915">
                  <a:extLst>
                    <a:ext uri="{9D8B030D-6E8A-4147-A177-3AD203B41FA5}">
                      <a16:colId xmlns:a16="http://schemas.microsoft.com/office/drawing/2014/main" val="2371112240"/>
                    </a:ext>
                  </a:extLst>
                </a:gridCol>
                <a:gridCol w="1045811">
                  <a:extLst>
                    <a:ext uri="{9D8B030D-6E8A-4147-A177-3AD203B41FA5}">
                      <a16:colId xmlns:a16="http://schemas.microsoft.com/office/drawing/2014/main" val="3546909000"/>
                    </a:ext>
                  </a:extLst>
                </a:gridCol>
              </a:tblGrid>
              <a:tr h="260456">
                <a:tc>
                  <a:txBody>
                    <a:bodyPr/>
                    <a:lstStyle/>
                    <a:p>
                      <a:pPr algn="ctr"/>
                      <a:r>
                        <a:rPr lang="en-GB" sz="1000" b="1">
                          <a:solidFill>
                            <a:schemeClr val="accent5"/>
                          </a:solidFill>
                          <a:latin typeface="Tahoma" panose="020B0604030504040204" pitchFamily="34" charset="0"/>
                          <a:ea typeface="Tahoma" panose="020B0604030504040204" pitchFamily="34" charset="0"/>
                          <a:cs typeface="Tahoma" panose="020B0604030504040204" pitchFamily="34" charset="0"/>
                        </a:rPr>
                        <a:t>Post_id</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F1A42"/>
                    </a:solidFill>
                  </a:tcPr>
                </a:tc>
                <a:tc>
                  <a:txBody>
                    <a:bodyPr/>
                    <a:lstStyle/>
                    <a:p>
                      <a:pPr algn="ctr"/>
                      <a:r>
                        <a:rPr lang="en-GB" sz="1000" b="1">
                          <a:solidFill>
                            <a:schemeClr val="accent5"/>
                          </a:solidFill>
                          <a:latin typeface="Tahoma" panose="020B0604030504040204" pitchFamily="34" charset="0"/>
                          <a:ea typeface="Tahoma" panose="020B0604030504040204" pitchFamily="34" charset="0"/>
                          <a:cs typeface="Tahoma" panose="020B0604030504040204" pitchFamily="34" charset="0"/>
                        </a:rPr>
                        <a:t>Water</a:t>
                      </a:r>
                    </a:p>
                  </a:txBody>
                  <a:tcPr>
                    <a:lnT w="12700" cap="flat" cmpd="sng" algn="ctr">
                      <a:solidFill>
                        <a:schemeClr val="tx1"/>
                      </a:solidFill>
                      <a:prstDash val="solid"/>
                      <a:round/>
                      <a:headEnd type="none" w="med" len="med"/>
                      <a:tailEnd type="none" w="med" len="med"/>
                    </a:lnT>
                    <a:solidFill>
                      <a:srgbClr val="0F1A42"/>
                    </a:solidFill>
                  </a:tcPr>
                </a:tc>
                <a:tc>
                  <a:txBody>
                    <a:bodyPr/>
                    <a:lstStyle/>
                    <a:p>
                      <a:pPr algn="ctr"/>
                      <a:r>
                        <a:rPr lang="en-GB" sz="1000" b="1">
                          <a:solidFill>
                            <a:schemeClr val="accent5"/>
                          </a:solidFill>
                          <a:latin typeface="Tahoma" panose="020B0604030504040204" pitchFamily="34" charset="0"/>
                          <a:ea typeface="Tahoma" panose="020B0604030504040204" pitchFamily="34" charset="0"/>
                          <a:cs typeface="Tahoma" panose="020B0604030504040204" pitchFamily="34" charset="0"/>
                        </a:rPr>
                        <a:t>Sky</a:t>
                      </a:r>
                    </a:p>
                  </a:txBody>
                  <a:tcPr>
                    <a:lnT w="12700" cap="flat" cmpd="sng" algn="ctr">
                      <a:solidFill>
                        <a:schemeClr val="tx1"/>
                      </a:solidFill>
                      <a:prstDash val="solid"/>
                      <a:round/>
                      <a:headEnd type="none" w="med" len="med"/>
                      <a:tailEnd type="none" w="med" len="med"/>
                    </a:lnT>
                    <a:solidFill>
                      <a:srgbClr val="0F1A42"/>
                    </a:solidFill>
                  </a:tcPr>
                </a:tc>
                <a:tc>
                  <a:txBody>
                    <a:bodyPr/>
                    <a:lstStyle/>
                    <a:p>
                      <a:pPr algn="ctr"/>
                      <a:r>
                        <a:rPr lang="en-GB" sz="1000" b="1">
                          <a:solidFill>
                            <a:schemeClr val="accent5"/>
                          </a:solidFill>
                          <a:latin typeface="Tahoma" panose="020B0604030504040204" pitchFamily="34" charset="0"/>
                          <a:ea typeface="Tahoma" panose="020B0604030504040204" pitchFamily="34" charset="0"/>
                          <a:cs typeface="Tahoma" panose="020B0604030504040204" pitchFamily="34" charset="0"/>
                        </a:rPr>
                        <a:t>…</a:t>
                      </a:r>
                    </a:p>
                  </a:txBody>
                  <a:tcPr>
                    <a:lnT w="12700" cap="flat" cmpd="sng" algn="ctr">
                      <a:solidFill>
                        <a:schemeClr val="tx1"/>
                      </a:solidFill>
                      <a:prstDash val="solid"/>
                      <a:round/>
                      <a:headEnd type="none" w="med" len="med"/>
                      <a:tailEnd type="none" w="med" len="med"/>
                    </a:lnT>
                    <a:solidFill>
                      <a:srgbClr val="0F1A42"/>
                    </a:solidFill>
                  </a:tcPr>
                </a:tc>
                <a:tc>
                  <a:txBody>
                    <a:bodyPr/>
                    <a:lstStyle/>
                    <a:p>
                      <a:pPr algn="ctr"/>
                      <a:r>
                        <a:rPr lang="en-GB" sz="1000" b="1">
                          <a:solidFill>
                            <a:schemeClr val="accent5"/>
                          </a:solidFill>
                          <a:latin typeface="Tahoma" panose="020B0604030504040204" pitchFamily="34" charset="0"/>
                          <a:ea typeface="Tahoma" panose="020B0604030504040204" pitchFamily="34" charset="0"/>
                          <a:cs typeface="Tahoma" panose="020B0604030504040204" pitchFamily="34" charset="0"/>
                        </a:rPr>
                        <a:t>Has_airplan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F1A42"/>
                    </a:solidFill>
                  </a:tcPr>
                </a:tc>
                <a:extLst>
                  <a:ext uri="{0D108BD9-81ED-4DB2-BD59-A6C34878D82A}">
                    <a16:rowId xmlns:a16="http://schemas.microsoft.com/office/drawing/2014/main" val="560442609"/>
                  </a:ext>
                </a:extLst>
              </a:tr>
              <a:tr h="19653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xx_yy_yy</a:t>
                      </a:r>
                    </a:p>
                  </a:txBody>
                  <a:tcPr>
                    <a:lnL w="12700" cap="flat" cmpd="sng" algn="ctr">
                      <a:solidFill>
                        <a:schemeClr val="tx1"/>
                      </a:solidFill>
                      <a:prstDash val="solid"/>
                      <a:round/>
                      <a:headEnd type="none" w="med" len="med"/>
                      <a:tailEnd type="none" w="med" len="med"/>
                    </a:lnL>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0</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F1A42"/>
                          </a:solidFill>
                          <a:effectLst/>
                          <a:uLnTx/>
                          <a:uFillTx/>
                          <a:latin typeface="Tahoma" panose="020B0604030504040204" pitchFamily="34" charset="0"/>
                          <a:ea typeface="Tahoma" panose="020B0604030504040204" pitchFamily="34" charset="0"/>
                          <a:cs typeface="Tahoma" panose="020B0604030504040204" pitchFamily="34" charset="0"/>
                          <a:sym typeface="Arial"/>
                        </a:rPr>
                        <a:t>…</a:t>
                      </a:r>
                    </a:p>
                  </a:txBody>
                  <a:tcP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78063630"/>
                  </a:ext>
                </a:extLst>
              </a:tr>
              <a:tr h="19653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yy_yy_yy</a:t>
                      </a:r>
                    </a:p>
                  </a:txBody>
                  <a:tcPr>
                    <a:lnL w="12700" cap="flat" cmpd="sng" algn="ctr">
                      <a:solidFill>
                        <a:schemeClr val="tx1"/>
                      </a:solidFill>
                      <a:prstDash val="solid"/>
                      <a:round/>
                      <a:headEnd type="none" w="med" len="med"/>
                      <a:tailEnd type="none" w="med" len="med"/>
                    </a:lnL>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F1A42"/>
                          </a:solidFill>
                          <a:effectLst/>
                          <a:uLnTx/>
                          <a:uFillTx/>
                          <a:latin typeface="Tahoma" panose="020B0604030504040204" pitchFamily="34" charset="0"/>
                          <a:ea typeface="Tahoma" panose="020B0604030504040204" pitchFamily="34" charset="0"/>
                          <a:cs typeface="Tahoma" panose="020B0604030504040204" pitchFamily="34" charset="0"/>
                          <a:sym typeface="Arial"/>
                        </a:rPr>
                        <a:t>…</a:t>
                      </a:r>
                    </a:p>
                  </a:txBody>
                  <a:tcP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0</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41910216"/>
                  </a:ext>
                </a:extLst>
              </a:tr>
              <a:tr h="180000">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a:ln>
                            <a:noFill/>
                          </a:ln>
                          <a:solidFill>
                            <a:srgbClr val="0F1A42"/>
                          </a:solidFill>
                          <a:effectLst/>
                          <a:uLnTx/>
                          <a:uFillTx/>
                          <a:latin typeface="Tahoma" panose="020B0604030504040204" pitchFamily="34" charset="0"/>
                          <a:ea typeface="Tahoma" panose="020B0604030504040204" pitchFamily="34" charset="0"/>
                          <a:cs typeface="Tahoma" panose="020B0604030504040204" pitchFamily="34" charset="0"/>
                          <a:sym typeface="Arial"/>
                        </a:rPr>
                        <a:t>…</a:t>
                      </a:r>
                    </a:p>
                  </a:txBody>
                  <a:tcPr marT="0" marB="0">
                    <a:lnB w="12700" cap="flat" cmpd="sng" algn="ctr">
                      <a:solidFill>
                        <a:schemeClr val="tx1"/>
                      </a:solidFill>
                      <a:prstDash val="solid"/>
                      <a:round/>
                      <a:headEnd type="none" w="med" len="med"/>
                      <a:tailEnd type="none" w="med" len="med"/>
                    </a:lnB>
                  </a:tcP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2030108"/>
                  </a:ext>
                </a:extLst>
              </a:tr>
            </a:tbl>
          </a:graphicData>
        </a:graphic>
      </p:graphicFrame>
      <p:cxnSp>
        <p:nvCxnSpPr>
          <p:cNvPr id="53" name="Straight Arrow Connector 52">
            <a:extLst>
              <a:ext uri="{FF2B5EF4-FFF2-40B4-BE49-F238E27FC236}">
                <a16:creationId xmlns:a16="http://schemas.microsoft.com/office/drawing/2014/main" id="{2194FF70-19A6-26CB-FB34-D2AFA68DC3AE}"/>
              </a:ext>
            </a:extLst>
          </p:cNvPr>
          <p:cNvCxnSpPr>
            <a:cxnSpLocks/>
          </p:cNvCxnSpPr>
          <p:nvPr/>
        </p:nvCxnSpPr>
        <p:spPr>
          <a:xfrm flipV="1">
            <a:off x="4128697" y="2561249"/>
            <a:ext cx="815537" cy="428546"/>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1CECB378-B133-52ED-5FD2-E65B4F06310F}"/>
              </a:ext>
            </a:extLst>
          </p:cNvPr>
          <p:cNvCxnSpPr>
            <a:cxnSpLocks/>
          </p:cNvCxnSpPr>
          <p:nvPr/>
        </p:nvCxnSpPr>
        <p:spPr>
          <a:xfrm flipH="1">
            <a:off x="5582591" y="2086391"/>
            <a:ext cx="930100" cy="316319"/>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57" name="Table 56">
            <a:extLst>
              <a:ext uri="{FF2B5EF4-FFF2-40B4-BE49-F238E27FC236}">
                <a16:creationId xmlns:a16="http://schemas.microsoft.com/office/drawing/2014/main" id="{798C3ED4-49E9-61F4-4840-46122A8469D5}"/>
              </a:ext>
            </a:extLst>
          </p:cNvPr>
          <p:cNvGraphicFramePr>
            <a:graphicFrameLocks noGrp="1"/>
          </p:cNvGraphicFramePr>
          <p:nvPr>
            <p:extLst>
              <p:ext uri="{D42A27DB-BD31-4B8C-83A1-F6EECF244321}">
                <p14:modId xmlns:p14="http://schemas.microsoft.com/office/powerpoint/2010/main" val="2074204052"/>
              </p:ext>
            </p:extLst>
          </p:nvPr>
        </p:nvGraphicFramePr>
        <p:xfrm>
          <a:off x="2673599" y="3010492"/>
          <a:ext cx="2102109" cy="944195"/>
        </p:xfrm>
        <a:graphic>
          <a:graphicData uri="http://schemas.openxmlformats.org/drawingml/2006/table">
            <a:tbl>
              <a:tblPr firstRow="1" bandRow="1">
                <a:tableStyleId>{2D5ABB26-0587-4C30-8999-92F81FD0307C}</a:tableStyleId>
              </a:tblPr>
              <a:tblGrid>
                <a:gridCol w="987616">
                  <a:extLst>
                    <a:ext uri="{9D8B030D-6E8A-4147-A177-3AD203B41FA5}">
                      <a16:colId xmlns:a16="http://schemas.microsoft.com/office/drawing/2014/main" val="3858654319"/>
                    </a:ext>
                  </a:extLst>
                </a:gridCol>
                <a:gridCol w="1114493">
                  <a:extLst>
                    <a:ext uri="{9D8B030D-6E8A-4147-A177-3AD203B41FA5}">
                      <a16:colId xmlns:a16="http://schemas.microsoft.com/office/drawing/2014/main" val="3546909000"/>
                    </a:ext>
                  </a:extLst>
                </a:gridCol>
              </a:tblGrid>
              <a:tr h="304115">
                <a:tc>
                  <a:txBody>
                    <a:bodyPr/>
                    <a:lstStyle/>
                    <a:p>
                      <a:pPr algn="ct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Post_id</a:t>
                      </a:r>
                    </a:p>
                  </a:txBody>
                  <a:tcPr>
                    <a:solidFill>
                      <a:srgbClr val="0F1A4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50" b="1">
                          <a:solidFill>
                            <a:schemeClr val="accent5"/>
                          </a:solidFill>
                          <a:latin typeface="Tahoma" panose="020B0604030504040204" pitchFamily="34" charset="0"/>
                          <a:ea typeface="Tahoma" panose="020B0604030504040204" pitchFamily="34" charset="0"/>
                          <a:cs typeface="Tahoma" panose="020B0604030504040204" pitchFamily="34" charset="0"/>
                        </a:rPr>
                        <a:t>Has_airplane</a:t>
                      </a:r>
                    </a:p>
                  </a:txBody>
                  <a:tcPr>
                    <a:solidFill>
                      <a:srgbClr val="0F1A42"/>
                    </a:solidFill>
                  </a:tcPr>
                </a:tc>
                <a:extLst>
                  <a:ext uri="{0D108BD9-81ED-4DB2-BD59-A6C34878D82A}">
                    <a16:rowId xmlns:a16="http://schemas.microsoft.com/office/drawing/2014/main" val="560442609"/>
                  </a:ext>
                </a:extLst>
              </a:tr>
              <a:tr h="23553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xx_yy_yy</a:t>
                      </a:r>
                    </a:p>
                  </a:txBody>
                  <a:tcP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1</a:t>
                      </a:r>
                    </a:p>
                  </a:txBody>
                  <a:tcPr/>
                </a:tc>
                <a:extLst>
                  <a:ext uri="{0D108BD9-81ED-4DB2-BD59-A6C34878D82A}">
                    <a16:rowId xmlns:a16="http://schemas.microsoft.com/office/drawing/2014/main" val="678063630"/>
                  </a:ext>
                </a:extLst>
              </a:tr>
              <a:tr h="20401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20yy_yy_yy</a:t>
                      </a:r>
                    </a:p>
                  </a:txBody>
                  <a:tcP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0</a:t>
                      </a:r>
                    </a:p>
                  </a:txBody>
                  <a:tcPr/>
                </a:tc>
                <a:extLst>
                  <a:ext uri="{0D108BD9-81ED-4DB2-BD59-A6C34878D82A}">
                    <a16:rowId xmlns:a16="http://schemas.microsoft.com/office/drawing/2014/main" val="2841910216"/>
                  </a:ext>
                </a:extLst>
              </a:tr>
              <a:tr h="144000">
                <a:tc>
                  <a:txBody>
                    <a:bodyPr/>
                    <a:lstStyle/>
                    <a:p>
                      <a:pPr algn="ctr"/>
                      <a:r>
                        <a:rPr lang="en-GB" sz="1000">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nchor="ctr"/>
                </a:tc>
                <a:tc>
                  <a:txBody>
                    <a:bodyPr/>
                    <a:lstStyle/>
                    <a:p>
                      <a:pPr algn="ctr"/>
                      <a:r>
                        <a:rPr lang="en-GB" sz="1000" b="1">
                          <a:solidFill>
                            <a:srgbClr val="0F1A42"/>
                          </a:solidFill>
                          <a:latin typeface="Tahoma" panose="020B0604030504040204" pitchFamily="34" charset="0"/>
                          <a:ea typeface="Tahoma" panose="020B0604030504040204" pitchFamily="34" charset="0"/>
                          <a:cs typeface="Tahoma" panose="020B0604030504040204" pitchFamily="34" charset="0"/>
                        </a:rPr>
                        <a:t>…</a:t>
                      </a:r>
                    </a:p>
                  </a:txBody>
                  <a:tcPr marT="0" marB="0" anchor="ctr"/>
                </a:tc>
                <a:extLst>
                  <a:ext uri="{0D108BD9-81ED-4DB2-BD59-A6C34878D82A}">
                    <a16:rowId xmlns:a16="http://schemas.microsoft.com/office/drawing/2014/main" val="3462030108"/>
                  </a:ext>
                </a:extLst>
              </a:tr>
            </a:tbl>
          </a:graphicData>
        </a:graphic>
      </p:graphicFrame>
      <p:sp>
        <p:nvSpPr>
          <p:cNvPr id="60" name="TextBox 59">
            <a:extLst>
              <a:ext uri="{FF2B5EF4-FFF2-40B4-BE49-F238E27FC236}">
                <a16:creationId xmlns:a16="http://schemas.microsoft.com/office/drawing/2014/main" id="{CE7DD870-A370-9E8D-CB27-BB8099F93030}"/>
              </a:ext>
            </a:extLst>
          </p:cNvPr>
          <p:cNvSpPr txBox="1"/>
          <p:nvPr/>
        </p:nvSpPr>
        <p:spPr>
          <a:xfrm>
            <a:off x="4701755" y="2253472"/>
            <a:ext cx="1064521" cy="307777"/>
          </a:xfrm>
          <a:prstGeom prst="rect">
            <a:avLst/>
          </a:prstGeom>
          <a:noFill/>
        </p:spPr>
        <p:txBody>
          <a:bodyPr wrap="square" rtlCol="0">
            <a:spAutoFit/>
          </a:bodyPr>
          <a:lstStyle/>
          <a:p>
            <a:pPr algn="ct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JOIN</a:t>
            </a:r>
          </a:p>
        </p:txBody>
      </p:sp>
      <p:sp>
        <p:nvSpPr>
          <p:cNvPr id="9" name="TextBox 8">
            <a:extLst>
              <a:ext uri="{FF2B5EF4-FFF2-40B4-BE49-F238E27FC236}">
                <a16:creationId xmlns:a16="http://schemas.microsoft.com/office/drawing/2014/main" id="{486994EA-0E56-0431-DFC1-8C00C9FA3E7A}"/>
              </a:ext>
            </a:extLst>
          </p:cNvPr>
          <p:cNvSpPr txBox="1"/>
          <p:nvPr/>
        </p:nvSpPr>
        <p:spPr>
          <a:xfrm>
            <a:off x="243879" y="755035"/>
            <a:ext cx="6651976" cy="307777"/>
          </a:xfrm>
          <a:prstGeom prst="rect">
            <a:avLst/>
          </a:prstGeom>
          <a:noFill/>
        </p:spPr>
        <p:txBody>
          <a:bodyPr wrap="square">
            <a:spAutoFit/>
          </a:bodyPr>
          <a:lstStyle/>
          <a:p>
            <a:r>
              <a:rPr lang="en-GB" b="1">
                <a:solidFill>
                  <a:srgbClr val="0F1A42"/>
                </a:solidFill>
                <a:latin typeface="Tahoma" panose="020B0604030504040204" pitchFamily="34" charset="0"/>
                <a:ea typeface="Tahoma" panose="020B0604030504040204" pitchFamily="34" charset="0"/>
                <a:cs typeface="Tahoma" panose="020B0604030504040204" pitchFamily="34" charset="0"/>
              </a:rPr>
              <a:t>Step 1: </a:t>
            </a:r>
            <a:r>
              <a:rPr lang="en-GB">
                <a:solidFill>
                  <a:srgbClr val="0F1A42"/>
                </a:solidFill>
                <a:latin typeface="Tahoma" panose="020B0604030504040204" pitchFamily="34" charset="0"/>
                <a:ea typeface="Tahoma" panose="020B0604030504040204" pitchFamily="34" charset="0"/>
                <a:cs typeface="Tahoma" panose="020B0604030504040204" pitchFamily="34" charset="0"/>
              </a:rPr>
              <a:t>Use</a:t>
            </a: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 </a:t>
            </a:r>
            <a:r>
              <a:rPr lang="en-GB">
                <a:solidFill>
                  <a:srgbClr val="0F1A42"/>
                </a:solidFill>
                <a:latin typeface="Tahoma" panose="020B0604030504040204" pitchFamily="34" charset="0"/>
                <a:ea typeface="Tahoma" panose="020B0604030504040204" pitchFamily="34" charset="0"/>
                <a:cs typeface="Tahoma" panose="020B0604030504040204" pitchFamily="34" charset="0"/>
              </a:rPr>
              <a:t>Google Vision API — Generate Descriptions</a:t>
            </a:r>
          </a:p>
        </p:txBody>
      </p:sp>
      <p:sp>
        <p:nvSpPr>
          <p:cNvPr id="12" name="TextBox 11">
            <a:extLst>
              <a:ext uri="{FF2B5EF4-FFF2-40B4-BE49-F238E27FC236}">
                <a16:creationId xmlns:a16="http://schemas.microsoft.com/office/drawing/2014/main" id="{C77A0DC2-E57E-0815-E33D-3A8133C641C4}"/>
              </a:ext>
            </a:extLst>
          </p:cNvPr>
          <p:cNvSpPr txBox="1"/>
          <p:nvPr/>
        </p:nvSpPr>
        <p:spPr>
          <a:xfrm>
            <a:off x="211486" y="2321042"/>
            <a:ext cx="3279671" cy="307777"/>
          </a:xfrm>
          <a:prstGeom prst="rect">
            <a:avLst/>
          </a:prstGeom>
          <a:noFill/>
        </p:spPr>
        <p:txBody>
          <a:bodyPr wrap="square">
            <a:spAutoFit/>
          </a:bodyPr>
          <a:lstStyle/>
          <a:p>
            <a:r>
              <a:rPr lang="en-GB" b="1">
                <a:solidFill>
                  <a:srgbClr val="0F1A42"/>
                </a:solidFill>
                <a:latin typeface="Tahoma" panose="020B0604030504040204" pitchFamily="34" charset="0"/>
                <a:ea typeface="Tahoma" panose="020B0604030504040204" pitchFamily="34" charset="0"/>
                <a:cs typeface="Tahoma" panose="020B0604030504040204" pitchFamily="34" charset="0"/>
              </a:rPr>
              <a:t>Step 2: </a:t>
            </a:r>
            <a:r>
              <a:rPr lang="en-GB">
                <a:solidFill>
                  <a:srgbClr val="0F1A42"/>
                </a:solidFill>
                <a:latin typeface="Tahoma" panose="020B0604030504040204" pitchFamily="34" charset="0"/>
                <a:ea typeface="Tahoma" panose="020B0604030504040204" pitchFamily="34" charset="0"/>
                <a:cs typeface="Tahoma" panose="020B0604030504040204" pitchFamily="34" charset="0"/>
              </a:rPr>
              <a:t>Construct training data</a:t>
            </a:r>
          </a:p>
        </p:txBody>
      </p:sp>
      <p:cxnSp>
        <p:nvCxnSpPr>
          <p:cNvPr id="20" name="Straight Arrow Connector 19">
            <a:extLst>
              <a:ext uri="{FF2B5EF4-FFF2-40B4-BE49-F238E27FC236}">
                <a16:creationId xmlns:a16="http://schemas.microsoft.com/office/drawing/2014/main" id="{40649177-10ED-6F73-A18A-2C4F70BBC21B}"/>
              </a:ext>
            </a:extLst>
          </p:cNvPr>
          <p:cNvCxnSpPr>
            <a:cxnSpLocks/>
          </p:cNvCxnSpPr>
          <p:nvPr/>
        </p:nvCxnSpPr>
        <p:spPr>
          <a:xfrm>
            <a:off x="5429756" y="2582252"/>
            <a:ext cx="235809" cy="380381"/>
          </a:xfrm>
          <a:prstGeom prst="straightConnector1">
            <a:avLst/>
          </a:prstGeom>
          <a:ln w="28575">
            <a:solidFill>
              <a:srgbClr val="0F1A4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8282BA7-6610-7F2A-4C3A-4D01A71140D2}"/>
              </a:ext>
            </a:extLst>
          </p:cNvPr>
          <p:cNvSpPr txBox="1"/>
          <p:nvPr/>
        </p:nvSpPr>
        <p:spPr>
          <a:xfrm>
            <a:off x="337815" y="4044786"/>
            <a:ext cx="6651976" cy="276999"/>
          </a:xfrm>
          <a:prstGeom prst="rect">
            <a:avLst/>
          </a:prstGeom>
          <a:noFill/>
        </p:spPr>
        <p:txBody>
          <a:bodyPr wrap="square">
            <a:spAutoFit/>
          </a:bodyPr>
          <a:lstStyle/>
          <a:p>
            <a:r>
              <a:rPr lang="en-GB" sz="1200" b="1">
                <a:solidFill>
                  <a:srgbClr val="0F1A42"/>
                </a:solidFill>
                <a:latin typeface="Tahoma" panose="020B0604030504040204" pitchFamily="34" charset="0"/>
                <a:ea typeface="Tahoma" panose="020B0604030504040204" pitchFamily="34" charset="0"/>
                <a:cs typeface="Tahoma" panose="020B0604030504040204" pitchFamily="34" charset="0"/>
              </a:rPr>
              <a:t>Step 3: </a:t>
            </a: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Create classification model that predicts </a:t>
            </a:r>
            <a:r>
              <a:rPr lang="en-GB" sz="1200" err="1">
                <a:solidFill>
                  <a:srgbClr val="0F1A42"/>
                </a:solidFill>
                <a:latin typeface="Tahoma" panose="020B0604030504040204" pitchFamily="34" charset="0"/>
                <a:ea typeface="Tahoma" panose="020B0604030504040204" pitchFamily="34" charset="0"/>
                <a:cs typeface="Tahoma" panose="020B0604030504040204" pitchFamily="34" charset="0"/>
              </a:rPr>
              <a:t>has_airplane</a:t>
            </a: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 based on descriptions </a:t>
            </a:r>
          </a:p>
        </p:txBody>
      </p:sp>
      <p:sp>
        <p:nvSpPr>
          <p:cNvPr id="44" name="TextBox 43">
            <a:extLst>
              <a:ext uri="{FF2B5EF4-FFF2-40B4-BE49-F238E27FC236}">
                <a16:creationId xmlns:a16="http://schemas.microsoft.com/office/drawing/2014/main" id="{2FC697B5-9D2A-61C8-A895-0D6682B7C5C7}"/>
              </a:ext>
            </a:extLst>
          </p:cNvPr>
          <p:cNvSpPr txBox="1"/>
          <p:nvPr/>
        </p:nvSpPr>
        <p:spPr>
          <a:xfrm>
            <a:off x="423558" y="4314864"/>
            <a:ext cx="6651976" cy="461665"/>
          </a:xfrm>
          <a:prstGeom prst="rect">
            <a:avLst/>
          </a:prstGeom>
          <a:noFill/>
        </p:spPr>
        <p:txBody>
          <a:bodyPr wrap="square">
            <a:spAutoFit/>
          </a:bodyPr>
          <a:lstStyle/>
          <a:p>
            <a:pPr marL="285750" indent="-285750">
              <a:buFont typeface="Arial" panose="020B0604020202020204" pitchFamily="34" charset="0"/>
              <a:buChar char="•"/>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Train-validation-test split 0.56-0.24-0.20</a:t>
            </a:r>
          </a:p>
          <a:p>
            <a:pPr marL="285750" indent="-285750">
              <a:buFont typeface="Arial" panose="020B0604020202020204" pitchFamily="34" charset="0"/>
              <a:buChar char="•"/>
            </a:pPr>
            <a:r>
              <a:rPr lang="en-GB" sz="1200">
                <a:solidFill>
                  <a:srgbClr val="0F1A42"/>
                </a:solidFill>
                <a:latin typeface="Tahoma" panose="020B0604030504040204" pitchFamily="34" charset="0"/>
                <a:ea typeface="Tahoma" panose="020B0604030504040204" pitchFamily="34" charset="0"/>
                <a:cs typeface="Tahoma" panose="020B0604030504040204" pitchFamily="34" charset="0"/>
              </a:rPr>
              <a:t>Random Forest — Decision Tree — Logistic Regression</a:t>
            </a:r>
          </a:p>
        </p:txBody>
      </p:sp>
    </p:spTree>
    <p:extLst>
      <p:ext uri="{BB962C8B-B14F-4D97-AF65-F5344CB8AC3E}">
        <p14:creationId xmlns:p14="http://schemas.microsoft.com/office/powerpoint/2010/main" val="4210678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9" grpId="0"/>
      <p:bldP spid="42" grpId="0"/>
      <p:bldP spid="60" grpId="0"/>
      <p:bldP spid="12" grpId="0"/>
      <p:bldP spid="40" grpId="0"/>
      <p:bldP spid="4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A qualitative comparison</a:t>
            </a:r>
          </a:p>
        </p:txBody>
      </p:sp>
      <p:pic>
        <p:nvPicPr>
          <p:cNvPr id="5" name="Picture 4">
            <a:extLst>
              <a:ext uri="{FF2B5EF4-FFF2-40B4-BE49-F238E27FC236}">
                <a16:creationId xmlns:a16="http://schemas.microsoft.com/office/drawing/2014/main" id="{DA4EC50C-92B1-F4E8-1B48-C9BBF607A033}"/>
              </a:ext>
            </a:extLst>
          </p:cNvPr>
          <p:cNvPicPr>
            <a:picLocks noChangeAspect="1"/>
          </p:cNvPicPr>
          <p:nvPr/>
        </p:nvPicPr>
        <p:blipFill>
          <a:blip r:embed="rId3"/>
          <a:srcRect/>
          <a:stretch/>
        </p:blipFill>
        <p:spPr>
          <a:xfrm>
            <a:off x="5009424" y="859301"/>
            <a:ext cx="2414214" cy="4079529"/>
          </a:xfrm>
          <a:prstGeom prst="rect">
            <a:avLst/>
          </a:prstGeom>
        </p:spPr>
      </p:pic>
      <p:pic>
        <p:nvPicPr>
          <p:cNvPr id="8" name="Picture 7">
            <a:extLst>
              <a:ext uri="{FF2B5EF4-FFF2-40B4-BE49-F238E27FC236}">
                <a16:creationId xmlns:a16="http://schemas.microsoft.com/office/drawing/2014/main" id="{2FA210DE-714E-6D2C-7C1C-0C82667254E4}"/>
              </a:ext>
            </a:extLst>
          </p:cNvPr>
          <p:cNvPicPr>
            <a:picLocks noChangeAspect="1"/>
          </p:cNvPicPr>
          <p:nvPr/>
        </p:nvPicPr>
        <p:blipFill>
          <a:blip r:embed="rId4"/>
          <a:srcRect/>
          <a:stretch/>
        </p:blipFill>
        <p:spPr>
          <a:xfrm>
            <a:off x="1899139" y="955220"/>
            <a:ext cx="2414214" cy="3983609"/>
          </a:xfrm>
          <a:prstGeom prst="rect">
            <a:avLst/>
          </a:prstGeom>
        </p:spPr>
      </p:pic>
      <p:sp>
        <p:nvSpPr>
          <p:cNvPr id="3" name="Rectangle 2">
            <a:extLst>
              <a:ext uri="{FF2B5EF4-FFF2-40B4-BE49-F238E27FC236}">
                <a16:creationId xmlns:a16="http://schemas.microsoft.com/office/drawing/2014/main" id="{F55C17D4-A847-8954-3E5B-B68BD63C673F}"/>
              </a:ext>
            </a:extLst>
          </p:cNvPr>
          <p:cNvSpPr/>
          <p:nvPr/>
        </p:nvSpPr>
        <p:spPr>
          <a:xfrm>
            <a:off x="2117187" y="2571750"/>
            <a:ext cx="358727" cy="30509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EC694C55-0B0E-51D8-DD7B-F34E09E7DDC2}"/>
              </a:ext>
            </a:extLst>
          </p:cNvPr>
          <p:cNvSpPr txBox="1"/>
          <p:nvPr/>
        </p:nvSpPr>
        <p:spPr>
          <a:xfrm>
            <a:off x="500475" y="2571750"/>
            <a:ext cx="1405185" cy="369332"/>
          </a:xfrm>
          <a:prstGeom prst="rect">
            <a:avLst/>
          </a:prstGeom>
          <a:noFill/>
        </p:spPr>
        <p:txBody>
          <a:bodyPr wrap="square" rtlCol="0">
            <a:spAutoFit/>
          </a:bodyPr>
          <a:lstStyle/>
          <a:p>
            <a:pPr algn="ctr"/>
            <a:r>
              <a:rPr lang="en-GB" sz="900" b="1">
                <a:solidFill>
                  <a:srgbClr val="C00000"/>
                </a:solidFill>
                <a:latin typeface="Tahoma" panose="020B0604030504040204" pitchFamily="34" charset="0"/>
                <a:ea typeface="Tahoma" panose="020B0604030504040204" pitchFamily="34" charset="0"/>
                <a:cs typeface="Tahoma" panose="020B0604030504040204" pitchFamily="34" charset="0"/>
              </a:rPr>
              <a:t>(Recently removed old posts)</a:t>
            </a:r>
          </a:p>
        </p:txBody>
      </p:sp>
      <p:grpSp>
        <p:nvGrpSpPr>
          <p:cNvPr id="16" name="Group 15">
            <a:extLst>
              <a:ext uri="{FF2B5EF4-FFF2-40B4-BE49-F238E27FC236}">
                <a16:creationId xmlns:a16="http://schemas.microsoft.com/office/drawing/2014/main" id="{BE3D9B23-564B-5198-C0A0-D35ED5EEE2E3}"/>
              </a:ext>
            </a:extLst>
          </p:cNvPr>
          <p:cNvGrpSpPr/>
          <p:nvPr/>
        </p:nvGrpSpPr>
        <p:grpSpPr>
          <a:xfrm>
            <a:off x="8407295" y="21102"/>
            <a:ext cx="871964" cy="503882"/>
            <a:chOff x="8285465" y="129092"/>
            <a:chExt cx="871964" cy="503882"/>
          </a:xfrm>
        </p:grpSpPr>
        <p:sp>
          <p:nvSpPr>
            <p:cNvPr id="17" name="Google Shape;3967;p40">
              <a:extLst>
                <a:ext uri="{FF2B5EF4-FFF2-40B4-BE49-F238E27FC236}">
                  <a16:creationId xmlns:a16="http://schemas.microsoft.com/office/drawing/2014/main" id="{02117D38-EEA0-0FFF-01CD-27EDB4C7BC22}"/>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General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8" name="Graphic 17">
              <a:extLst>
                <a:ext uri="{FF2B5EF4-FFF2-40B4-BE49-F238E27FC236}">
                  <a16:creationId xmlns:a16="http://schemas.microsoft.com/office/drawing/2014/main" id="{EE977E00-2FB4-A0C2-9836-266504F3EF0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546107" y="129092"/>
              <a:ext cx="378816" cy="235866"/>
            </a:xfrm>
            <a:prstGeom prst="rect">
              <a:avLst/>
            </a:prstGeom>
          </p:spPr>
        </p:pic>
      </p:grpSp>
      <p:sp>
        <p:nvSpPr>
          <p:cNvPr id="4" name="Rectangle 3">
            <a:extLst>
              <a:ext uri="{FF2B5EF4-FFF2-40B4-BE49-F238E27FC236}">
                <a16:creationId xmlns:a16="http://schemas.microsoft.com/office/drawing/2014/main" id="{F713FBE9-AB14-7413-25F8-2B10D7574171}"/>
              </a:ext>
            </a:extLst>
          </p:cNvPr>
          <p:cNvSpPr/>
          <p:nvPr/>
        </p:nvSpPr>
        <p:spPr>
          <a:xfrm>
            <a:off x="1828800" y="1998330"/>
            <a:ext cx="2547257" cy="523220"/>
          </a:xfrm>
          <a:prstGeom prst="rect">
            <a:avLst/>
          </a:prstGeom>
          <a:noFill/>
          <a:ln>
            <a:solidFill>
              <a:srgbClr val="0F1A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E5ACAF4B-477B-9FDE-16C2-576DE06B3400}"/>
              </a:ext>
            </a:extLst>
          </p:cNvPr>
          <p:cNvSpPr txBox="1"/>
          <p:nvPr/>
        </p:nvSpPr>
        <p:spPr>
          <a:xfrm>
            <a:off x="718457" y="1612910"/>
            <a:ext cx="1110343" cy="523220"/>
          </a:xfrm>
          <a:prstGeom prst="rect">
            <a:avLst/>
          </a:prstGeom>
          <a:noFill/>
        </p:spPr>
        <p:txBody>
          <a:bodyPr wrap="square" rtlCol="0">
            <a:spAutoFit/>
          </a:bodyPr>
          <a:lstStyle/>
          <a:p>
            <a:pPr algn="ct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Story highlights</a:t>
            </a:r>
          </a:p>
        </p:txBody>
      </p:sp>
      <p:sp>
        <p:nvSpPr>
          <p:cNvPr id="9" name="Rectangle 8">
            <a:extLst>
              <a:ext uri="{FF2B5EF4-FFF2-40B4-BE49-F238E27FC236}">
                <a16:creationId xmlns:a16="http://schemas.microsoft.com/office/drawing/2014/main" id="{1A26A505-1841-E98D-B8E3-F18945A9A6AB}"/>
              </a:ext>
            </a:extLst>
          </p:cNvPr>
          <p:cNvSpPr/>
          <p:nvPr/>
        </p:nvSpPr>
        <p:spPr>
          <a:xfrm>
            <a:off x="4947557" y="2050946"/>
            <a:ext cx="2476081" cy="523220"/>
          </a:xfrm>
          <a:prstGeom prst="rect">
            <a:avLst/>
          </a:prstGeom>
          <a:noFill/>
          <a:ln>
            <a:solidFill>
              <a:srgbClr val="0F1A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3D961AD5-E173-B014-D12E-86FE4C9B0D97}"/>
              </a:ext>
            </a:extLst>
          </p:cNvPr>
          <p:cNvSpPr txBox="1"/>
          <p:nvPr/>
        </p:nvSpPr>
        <p:spPr>
          <a:xfrm>
            <a:off x="7423638" y="1663110"/>
            <a:ext cx="1110343" cy="523220"/>
          </a:xfrm>
          <a:prstGeom prst="rect">
            <a:avLst/>
          </a:prstGeom>
          <a:noFill/>
        </p:spPr>
        <p:txBody>
          <a:bodyPr wrap="square" rtlCol="0">
            <a:spAutoFit/>
          </a:bodyPr>
          <a:lstStyle/>
          <a:p>
            <a:pPr algn="ct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Story highlights</a:t>
            </a:r>
          </a:p>
        </p:txBody>
      </p:sp>
      <p:cxnSp>
        <p:nvCxnSpPr>
          <p:cNvPr id="12" name="Straight Arrow Connector 11">
            <a:extLst>
              <a:ext uri="{FF2B5EF4-FFF2-40B4-BE49-F238E27FC236}">
                <a16:creationId xmlns:a16="http://schemas.microsoft.com/office/drawing/2014/main" id="{D054867D-4644-69D6-A14D-999521E656D4}"/>
              </a:ext>
            </a:extLst>
          </p:cNvPr>
          <p:cNvCxnSpPr>
            <a:cxnSpLocks/>
          </p:cNvCxnSpPr>
          <p:nvPr/>
        </p:nvCxnSpPr>
        <p:spPr>
          <a:xfrm flipV="1">
            <a:off x="6185597" y="1428750"/>
            <a:ext cx="1299908" cy="515408"/>
          </a:xfrm>
          <a:prstGeom prst="straightConnector1">
            <a:avLst/>
          </a:prstGeom>
          <a:ln>
            <a:solidFill>
              <a:srgbClr val="0F1A42"/>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FAFD5EC-66B1-365F-4D02-25C296043917}"/>
              </a:ext>
            </a:extLst>
          </p:cNvPr>
          <p:cNvSpPr txBox="1"/>
          <p:nvPr/>
        </p:nvSpPr>
        <p:spPr>
          <a:xfrm>
            <a:off x="7392705" y="1013664"/>
            <a:ext cx="1110343" cy="523220"/>
          </a:xfrm>
          <a:prstGeom prst="rect">
            <a:avLst/>
          </a:prstGeom>
          <a:noFill/>
        </p:spPr>
        <p:txBody>
          <a:bodyPr wrap="square" rtlCol="0">
            <a:spAutoFit/>
          </a:bodyPr>
          <a:lstStyle/>
          <a:p>
            <a:pPr algn="ct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TikTok link</a:t>
            </a:r>
          </a:p>
        </p:txBody>
      </p:sp>
    </p:spTree>
    <p:extLst>
      <p:ext uri="{BB962C8B-B14F-4D97-AF65-F5344CB8AC3E}">
        <p14:creationId xmlns:p14="http://schemas.microsoft.com/office/powerpoint/2010/main" val="24832715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8CE7F4-D454-CC34-8A6A-C78BC51CD9E9}"/>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FEATURES: HAS_AIRPLANE (Part 2)</a:t>
            </a:r>
          </a:p>
        </p:txBody>
      </p:sp>
      <p:sp>
        <p:nvSpPr>
          <p:cNvPr id="3" name="TextBox 2">
            <a:extLst>
              <a:ext uri="{FF2B5EF4-FFF2-40B4-BE49-F238E27FC236}">
                <a16:creationId xmlns:a16="http://schemas.microsoft.com/office/drawing/2014/main" id="{43CFB9C6-1D79-0742-D89A-8087A4C49A14}"/>
              </a:ext>
            </a:extLst>
          </p:cNvPr>
          <p:cNvSpPr txBox="1"/>
          <p:nvPr/>
        </p:nvSpPr>
        <p:spPr>
          <a:xfrm>
            <a:off x="594629" y="1032519"/>
            <a:ext cx="8638383" cy="3662541"/>
          </a:xfrm>
          <a:prstGeom prst="rect">
            <a:avLst/>
          </a:prstGeom>
          <a:noFill/>
        </p:spPr>
        <p:txBody>
          <a:bodyPr wrap="square" rtlCol="0">
            <a:spAutoFit/>
          </a:bodyPr>
          <a:lstStyle/>
          <a:p>
            <a:r>
              <a:rPr lang="en-GB" b="1">
                <a:latin typeface="Tahoma" panose="020B0604030504040204" pitchFamily="34" charset="0"/>
                <a:ea typeface="Tahoma" panose="020B0604030504040204" pitchFamily="34" charset="0"/>
                <a:cs typeface="Tahoma" panose="020B0604030504040204" pitchFamily="34" charset="0"/>
              </a:rPr>
              <a:t>Step 4: </a:t>
            </a:r>
            <a:r>
              <a:rPr lang="en-GB">
                <a:latin typeface="Tahoma" panose="020B0604030504040204" pitchFamily="34" charset="0"/>
                <a:ea typeface="Tahoma" panose="020B0604030504040204" pitchFamily="34" charset="0"/>
                <a:cs typeface="Tahoma" panose="020B0604030504040204" pitchFamily="34" charset="0"/>
              </a:rPr>
              <a:t>Deduct best alternative on validation set — Logistic Regression with 25 most frequent descriptions </a:t>
            </a:r>
          </a:p>
          <a:p>
            <a:endParaRPr lang="en-GB">
              <a:latin typeface="Tahoma" panose="020B0604030504040204" pitchFamily="34" charset="0"/>
              <a:ea typeface="Tahoma" panose="020B0604030504040204" pitchFamily="34" charset="0"/>
              <a:cs typeface="Tahoma" panose="020B0604030504040204" pitchFamily="34" charset="0"/>
            </a:endParaRPr>
          </a:p>
          <a:p>
            <a:r>
              <a:rPr lang="en-GB" b="1">
                <a:latin typeface="Tahoma" panose="020B0604030504040204" pitchFamily="34" charset="0"/>
                <a:ea typeface="Tahoma" panose="020B0604030504040204" pitchFamily="34" charset="0"/>
                <a:cs typeface="Tahoma" panose="020B0604030504040204" pitchFamily="34" charset="0"/>
              </a:rPr>
              <a:t>Step 5: </a:t>
            </a:r>
            <a:r>
              <a:rPr lang="en-GB">
                <a:latin typeface="Tahoma" panose="020B0604030504040204" pitchFamily="34" charset="0"/>
                <a:ea typeface="Tahoma" panose="020B0604030504040204" pitchFamily="34" charset="0"/>
                <a:cs typeface="Tahoma" panose="020B0604030504040204" pitchFamily="34" charset="0"/>
              </a:rPr>
              <a:t>Evaluation of performance </a:t>
            </a: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b="1">
              <a:latin typeface="Tahoma" panose="020B0604030504040204" pitchFamily="34" charset="0"/>
              <a:ea typeface="Tahoma" panose="020B0604030504040204" pitchFamily="34" charset="0"/>
              <a:cs typeface="Tahoma" panose="020B0604030504040204" pitchFamily="34" charset="0"/>
            </a:endParaRPr>
          </a:p>
          <a:p>
            <a:pPr>
              <a:spcBef>
                <a:spcPts val="1200"/>
              </a:spcBef>
              <a:spcAft>
                <a:spcPts val="1200"/>
              </a:spcAft>
            </a:pPr>
            <a:endParaRPr lang="en-GB" b="1">
              <a:latin typeface="Tahoma" panose="020B0604030504040204" pitchFamily="34" charset="0"/>
              <a:ea typeface="Tahoma" panose="020B0604030504040204" pitchFamily="34" charset="0"/>
              <a:cs typeface="Tahoma" panose="020B0604030504040204" pitchFamily="34" charset="0"/>
            </a:endParaRPr>
          </a:p>
          <a:p>
            <a:pPr>
              <a:spcBef>
                <a:spcPts val="1200"/>
              </a:spcBef>
              <a:spcAft>
                <a:spcPts val="1200"/>
              </a:spcAft>
            </a:pPr>
            <a:r>
              <a:rPr lang="en-GB" b="1">
                <a:latin typeface="Tahoma" panose="020B0604030504040204" pitchFamily="34" charset="0"/>
                <a:ea typeface="Tahoma" panose="020B0604030504040204" pitchFamily="34" charset="0"/>
                <a:cs typeface="Tahoma" panose="020B0604030504040204" pitchFamily="34" charset="0"/>
              </a:rPr>
              <a:t>Step 6: </a:t>
            </a:r>
            <a:r>
              <a:rPr lang="en-GB">
                <a:latin typeface="Tahoma" panose="020B0604030504040204" pitchFamily="34" charset="0"/>
                <a:ea typeface="Tahoma" panose="020B0604030504040204" pitchFamily="34" charset="0"/>
                <a:cs typeface="Tahoma" panose="020B0604030504040204" pitchFamily="34" charset="0"/>
              </a:rPr>
              <a:t>Apply on remaining data</a:t>
            </a:r>
          </a:p>
          <a:p>
            <a:pPr>
              <a:spcBef>
                <a:spcPts val="1200"/>
              </a:spcBef>
              <a:spcAft>
                <a:spcPts val="1200"/>
              </a:spcAft>
            </a:pPr>
            <a:r>
              <a:rPr lang="en-GB" b="1">
                <a:latin typeface="Tahoma" panose="020B0604030504040204" pitchFamily="34" charset="0"/>
                <a:ea typeface="Tahoma" panose="020B0604030504040204" pitchFamily="34" charset="0"/>
                <a:cs typeface="Tahoma" panose="020B0604030504040204" pitchFamily="34" charset="0"/>
              </a:rPr>
              <a:t>Step 7: </a:t>
            </a:r>
            <a:r>
              <a:rPr lang="en-GB">
                <a:latin typeface="Tahoma" panose="020B0604030504040204" pitchFamily="34" charset="0"/>
                <a:ea typeface="Tahoma" panose="020B0604030504040204" pitchFamily="34" charset="0"/>
                <a:cs typeface="Tahoma" panose="020B0604030504040204" pitchFamily="34" charset="0"/>
              </a:rPr>
              <a:t>Use as feature in engagement model</a:t>
            </a:r>
          </a:p>
        </p:txBody>
      </p:sp>
      <p:graphicFrame>
        <p:nvGraphicFramePr>
          <p:cNvPr id="4" name="Table 3">
            <a:extLst>
              <a:ext uri="{FF2B5EF4-FFF2-40B4-BE49-F238E27FC236}">
                <a16:creationId xmlns:a16="http://schemas.microsoft.com/office/drawing/2014/main" id="{B1DCC7CD-BD70-E838-4B2F-08A85FFC9753}"/>
              </a:ext>
            </a:extLst>
          </p:cNvPr>
          <p:cNvGraphicFramePr>
            <a:graphicFrameLocks noGrp="1"/>
          </p:cNvGraphicFramePr>
          <p:nvPr>
            <p:extLst>
              <p:ext uri="{D42A27DB-BD31-4B8C-83A1-F6EECF244321}">
                <p14:modId xmlns:p14="http://schemas.microsoft.com/office/powerpoint/2010/main" val="2130276159"/>
              </p:ext>
            </p:extLst>
          </p:nvPr>
        </p:nvGraphicFramePr>
        <p:xfrm>
          <a:off x="594629" y="2048181"/>
          <a:ext cx="4038801" cy="1214384"/>
        </p:xfrm>
        <a:graphic>
          <a:graphicData uri="http://schemas.openxmlformats.org/drawingml/2006/table">
            <a:tbl>
              <a:tblPr firstRow="1" bandRow="1">
                <a:tableStyleId>{2FF4BB1D-9B9B-497A-A6D5-F217B081F8ED}</a:tableStyleId>
              </a:tblPr>
              <a:tblGrid>
                <a:gridCol w="1346267">
                  <a:extLst>
                    <a:ext uri="{9D8B030D-6E8A-4147-A177-3AD203B41FA5}">
                      <a16:colId xmlns:a16="http://schemas.microsoft.com/office/drawing/2014/main" val="2415169114"/>
                    </a:ext>
                  </a:extLst>
                </a:gridCol>
                <a:gridCol w="1346267">
                  <a:extLst>
                    <a:ext uri="{9D8B030D-6E8A-4147-A177-3AD203B41FA5}">
                      <a16:colId xmlns:a16="http://schemas.microsoft.com/office/drawing/2014/main" val="319999929"/>
                    </a:ext>
                  </a:extLst>
                </a:gridCol>
                <a:gridCol w="1346267">
                  <a:extLst>
                    <a:ext uri="{9D8B030D-6E8A-4147-A177-3AD203B41FA5}">
                      <a16:colId xmlns:a16="http://schemas.microsoft.com/office/drawing/2014/main" val="3722224176"/>
                    </a:ext>
                  </a:extLst>
                </a:gridCol>
              </a:tblGrid>
              <a:tr h="303596">
                <a:tc>
                  <a:txBody>
                    <a:bodyPr/>
                    <a:lstStyle/>
                    <a:p>
                      <a:pPr marR="0" algn="ctr" rtl="0">
                        <a:lnSpc>
                          <a:spcPct val="100000"/>
                        </a:lnSpc>
                        <a:spcBef>
                          <a:spcPts val="0"/>
                        </a:spcBef>
                        <a:spcAft>
                          <a:spcPts val="0"/>
                        </a:spcAft>
                        <a:buClr>
                          <a:srgbClr val="000000"/>
                        </a:buClr>
                        <a:buFont typeface="Arial"/>
                      </a:pPr>
                      <a:endPar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rPr>
                        <a:t>Validation se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rPr>
                        <a:t>Test set </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extLst>
                  <a:ext uri="{0D108BD9-81ED-4DB2-BD59-A6C34878D82A}">
                    <a16:rowId xmlns:a16="http://schemas.microsoft.com/office/drawing/2014/main" val="443522090"/>
                  </a:ext>
                </a:extLst>
              </a:tr>
              <a:tr h="303596">
                <a:tc>
                  <a:txBody>
                    <a:bodyPr/>
                    <a:lstStyle/>
                    <a:p>
                      <a:pPr marR="0" algn="ctr" rtl="0">
                        <a:lnSpc>
                          <a:spcPct val="100000"/>
                        </a:lnSpc>
                        <a:spcBef>
                          <a:spcPts val="0"/>
                        </a:spcBef>
                        <a:spcAft>
                          <a:spcPts val="0"/>
                        </a:spcAft>
                        <a:buClr>
                          <a:srgbClr val="000000"/>
                        </a:buClr>
                        <a:buFont typeface="Arial"/>
                      </a:pPr>
                      <a:r>
                        <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rPr>
                        <a:t>Accuracy</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728</a:t>
                      </a:r>
                      <a:endParaRPr lang="en-GB" sz="1100" b="0" i="0" u="none" strike="noStrike" cap="none">
                        <a:solidFill>
                          <a:srgbClr val="000000"/>
                        </a:solidFill>
                        <a:effectLst/>
                        <a:latin typeface="Arial"/>
                        <a:cs typeface="Arial"/>
                        <a:sym typeface="Arial"/>
                      </a:endParaRPr>
                    </a:p>
                  </a:txBody>
                  <a:tcPr>
                    <a:lnL w="1270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807</a:t>
                      </a:r>
                      <a:endParaRPr lang="en-GB" sz="1100" b="0" i="0" u="none" strike="noStrike" cap="none">
                        <a:solidFill>
                          <a:srgbClr val="000000"/>
                        </a:solidFill>
                        <a:effectLst/>
                        <a:latin typeface="Arial"/>
                        <a:cs typeface="Arial"/>
                        <a:sym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5231365"/>
                  </a:ext>
                </a:extLst>
              </a:tr>
              <a:tr h="303596">
                <a:tc>
                  <a:txBody>
                    <a:bodyPr/>
                    <a:lstStyle/>
                    <a:p>
                      <a:pPr marR="0" algn="ctr" rtl="0">
                        <a:lnSpc>
                          <a:spcPct val="100000"/>
                        </a:lnSpc>
                        <a:spcBef>
                          <a:spcPts val="0"/>
                        </a:spcBef>
                        <a:spcAft>
                          <a:spcPts val="0"/>
                        </a:spcAft>
                        <a:buClr>
                          <a:srgbClr val="000000"/>
                        </a:buClr>
                        <a:buFont typeface="Arial"/>
                      </a:pPr>
                      <a:r>
                        <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rPr>
                        <a:t>Precision</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569</a:t>
                      </a:r>
                      <a:endParaRPr lang="en-GB" sz="1100" b="0" i="0" u="none" strike="noStrike" cap="none">
                        <a:solidFill>
                          <a:srgbClr val="000000"/>
                        </a:solidFill>
                        <a:effectLst/>
                        <a:latin typeface="Arial"/>
                        <a:cs typeface="Arial"/>
                        <a:sym typeface="Arial"/>
                      </a:endParaRPr>
                    </a:p>
                  </a:txBody>
                  <a:tcPr>
                    <a:lnL w="1270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806</a:t>
                      </a:r>
                      <a:endParaRPr lang="en-GB" sz="1100" b="0" i="0" u="none" strike="noStrike" cap="none">
                        <a:solidFill>
                          <a:srgbClr val="000000"/>
                        </a:solidFill>
                        <a:effectLst/>
                        <a:latin typeface="Arial"/>
                        <a:cs typeface="Arial"/>
                        <a:sym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8870067"/>
                  </a:ext>
                </a:extLst>
              </a:tr>
              <a:tr h="303596">
                <a:tc>
                  <a:txBody>
                    <a:bodyPr/>
                    <a:lstStyle/>
                    <a:p>
                      <a:pPr marR="0" algn="ctr" rtl="0">
                        <a:lnSpc>
                          <a:spcPct val="100000"/>
                        </a:lnSpc>
                        <a:spcBef>
                          <a:spcPts val="0"/>
                        </a:spcBef>
                        <a:spcAft>
                          <a:spcPts val="0"/>
                        </a:spcAft>
                        <a:buClr>
                          <a:srgbClr val="000000"/>
                        </a:buClr>
                        <a:buFont typeface="Arial"/>
                      </a:pPr>
                      <a:r>
                        <a:rPr lang="en-GB" sz="1100" b="1" i="0" u="none" strike="noStrike" cap="none">
                          <a:solidFill>
                            <a:schemeClr val="accent5"/>
                          </a:solidFill>
                          <a:latin typeface="Tahoma" panose="020B0604030504040204" pitchFamily="34" charset="0"/>
                          <a:ea typeface="Tahoma" panose="020B0604030504040204" pitchFamily="34" charset="0"/>
                          <a:cs typeface="Tahoma" panose="020B0604030504040204" pitchFamily="34" charset="0"/>
                          <a:sym typeface="Arial"/>
                        </a:rPr>
                        <a:t>Recall </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136</a:t>
                      </a:r>
                      <a:endParaRPr lang="en-GB" sz="1100" b="0" i="0" u="none" strike="noStrike" cap="none">
                        <a:solidFill>
                          <a:srgbClr val="000000"/>
                        </a:solidFill>
                        <a:effectLst/>
                        <a:latin typeface="Arial"/>
                        <a:cs typeface="Arial"/>
                        <a:sym typeface="Arial"/>
                      </a:endParaRPr>
                    </a:p>
                  </a:txBody>
                  <a:tcPr>
                    <a:lnL w="1270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9181</a:t>
                      </a:r>
                      <a:endParaRPr lang="en-GB" sz="1100" b="0" i="0" u="none" strike="noStrike" cap="none">
                        <a:solidFill>
                          <a:srgbClr val="000000"/>
                        </a:solidFill>
                        <a:effectLst/>
                        <a:latin typeface="Arial"/>
                        <a:cs typeface="Arial"/>
                        <a:sym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4382870"/>
                  </a:ext>
                </a:extLst>
              </a:tr>
            </a:tbl>
          </a:graphicData>
        </a:graphic>
      </p:graphicFrame>
      <p:pic>
        <p:nvPicPr>
          <p:cNvPr id="9" name="Picture 8">
            <a:extLst>
              <a:ext uri="{FF2B5EF4-FFF2-40B4-BE49-F238E27FC236}">
                <a16:creationId xmlns:a16="http://schemas.microsoft.com/office/drawing/2014/main" id="{3CBBFA1D-20A1-F841-4364-8650CD821837}"/>
              </a:ext>
            </a:extLst>
          </p:cNvPr>
          <p:cNvPicPr>
            <a:picLocks noChangeAspect="1"/>
          </p:cNvPicPr>
          <p:nvPr/>
        </p:nvPicPr>
        <p:blipFill>
          <a:blip r:embed="rId3"/>
          <a:stretch>
            <a:fillRect/>
          </a:stretch>
        </p:blipFill>
        <p:spPr>
          <a:xfrm>
            <a:off x="4999672" y="1713412"/>
            <a:ext cx="3772061" cy="3184207"/>
          </a:xfrm>
          <a:prstGeom prst="rect">
            <a:avLst/>
          </a:prstGeom>
        </p:spPr>
      </p:pic>
    </p:spTree>
    <p:extLst>
      <p:ext uri="{BB962C8B-B14F-4D97-AF65-F5344CB8AC3E}">
        <p14:creationId xmlns:p14="http://schemas.microsoft.com/office/powerpoint/2010/main" val="1350676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8CE7F4-D454-CC34-8A6A-C78BC51CD9E9}"/>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FEATURES: nr_faces</a:t>
            </a:r>
            <a:r>
              <a:rPr lang="en-GB" baseline="30000"/>
              <a:t>1</a:t>
            </a:r>
            <a:endParaRPr lang="en-GB"/>
          </a:p>
        </p:txBody>
      </p:sp>
      <p:sp>
        <p:nvSpPr>
          <p:cNvPr id="3" name="TextBox 2">
            <a:extLst>
              <a:ext uri="{FF2B5EF4-FFF2-40B4-BE49-F238E27FC236}">
                <a16:creationId xmlns:a16="http://schemas.microsoft.com/office/drawing/2014/main" id="{43CFB9C6-1D79-0742-D89A-8087A4C49A14}"/>
              </a:ext>
            </a:extLst>
          </p:cNvPr>
          <p:cNvSpPr txBox="1"/>
          <p:nvPr/>
        </p:nvSpPr>
        <p:spPr>
          <a:xfrm>
            <a:off x="594629" y="1032519"/>
            <a:ext cx="7954742" cy="1384995"/>
          </a:xfrm>
          <a:prstGeom prst="rect">
            <a:avLst/>
          </a:prstGeom>
          <a:noFill/>
        </p:spPr>
        <p:txBody>
          <a:bodyPr wrap="square" rtlCol="0">
            <a:spAutoFit/>
          </a:bodyPr>
          <a:lstStyle/>
          <a:p>
            <a:r>
              <a:rPr lang="en-GB" b="1">
                <a:latin typeface="Tahoma" panose="020B0604030504040204" pitchFamily="34" charset="0"/>
                <a:ea typeface="Tahoma" panose="020B0604030504040204" pitchFamily="34" charset="0"/>
                <a:cs typeface="Tahoma" panose="020B0604030504040204" pitchFamily="34" charset="0"/>
              </a:rPr>
              <a:t>Reasoning: </a:t>
            </a:r>
            <a:r>
              <a:rPr lang="en-GB">
                <a:latin typeface="Tahoma" panose="020B0604030504040204" pitchFamily="34" charset="0"/>
                <a:ea typeface="Tahoma" panose="020B0604030504040204" pitchFamily="34" charset="0"/>
                <a:cs typeface="Tahoma" panose="020B0604030504040204" pitchFamily="34" charset="0"/>
              </a:rPr>
              <a:t>Including people in pictures fosters human connection and relatability, utilizing the emotional impact of facial expressions to boost engagement by resonating with viewers' emotions.</a:t>
            </a: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a:p>
            <a:endParaRPr lang="en-GB">
              <a:latin typeface="Tahoma" panose="020B0604030504040204" pitchFamily="34" charset="0"/>
              <a:ea typeface="Tahoma" panose="020B0604030504040204" pitchFamily="34" charset="0"/>
              <a:cs typeface="Tahoma" panose="020B0604030504040204" pitchFamily="34" charset="0"/>
            </a:endParaRPr>
          </a:p>
        </p:txBody>
      </p:sp>
      <p:pic>
        <p:nvPicPr>
          <p:cNvPr id="7" name="Picture 6">
            <a:extLst>
              <a:ext uri="{FF2B5EF4-FFF2-40B4-BE49-F238E27FC236}">
                <a16:creationId xmlns:a16="http://schemas.microsoft.com/office/drawing/2014/main" id="{AB5DD9F7-8DD3-D1BD-8384-57662633A0DA}"/>
              </a:ext>
            </a:extLst>
          </p:cNvPr>
          <p:cNvPicPr>
            <a:picLocks noChangeAspect="1"/>
          </p:cNvPicPr>
          <p:nvPr/>
        </p:nvPicPr>
        <p:blipFill>
          <a:blip r:embed="rId4"/>
          <a:stretch>
            <a:fillRect/>
          </a:stretch>
        </p:blipFill>
        <p:spPr>
          <a:xfrm>
            <a:off x="3158287" y="2054514"/>
            <a:ext cx="2358008" cy="2491366"/>
          </a:xfrm>
          <a:prstGeom prst="rect">
            <a:avLst/>
          </a:prstGeom>
        </p:spPr>
      </p:pic>
      <p:pic>
        <p:nvPicPr>
          <p:cNvPr id="10" name="Picture 9">
            <a:extLst>
              <a:ext uri="{FF2B5EF4-FFF2-40B4-BE49-F238E27FC236}">
                <a16:creationId xmlns:a16="http://schemas.microsoft.com/office/drawing/2014/main" id="{02CFE2B8-0707-549F-6503-0BC439ABC173}"/>
              </a:ext>
            </a:extLst>
          </p:cNvPr>
          <p:cNvPicPr>
            <a:picLocks noChangeAspect="1"/>
          </p:cNvPicPr>
          <p:nvPr/>
        </p:nvPicPr>
        <p:blipFill>
          <a:blip r:embed="rId5"/>
          <a:stretch>
            <a:fillRect/>
          </a:stretch>
        </p:blipFill>
        <p:spPr>
          <a:xfrm>
            <a:off x="594629" y="2054513"/>
            <a:ext cx="2358009" cy="2491367"/>
          </a:xfrm>
          <a:prstGeom prst="rect">
            <a:avLst/>
          </a:prstGeom>
        </p:spPr>
      </p:pic>
      <p:pic>
        <p:nvPicPr>
          <p:cNvPr id="12" name="Picture 11">
            <a:extLst>
              <a:ext uri="{FF2B5EF4-FFF2-40B4-BE49-F238E27FC236}">
                <a16:creationId xmlns:a16="http://schemas.microsoft.com/office/drawing/2014/main" id="{7D5F243B-33C6-C366-545A-1888ACE64AC7}"/>
              </a:ext>
            </a:extLst>
          </p:cNvPr>
          <p:cNvPicPr>
            <a:picLocks noChangeAspect="1"/>
          </p:cNvPicPr>
          <p:nvPr/>
        </p:nvPicPr>
        <p:blipFill>
          <a:blip r:embed="rId6"/>
          <a:stretch>
            <a:fillRect/>
          </a:stretch>
        </p:blipFill>
        <p:spPr>
          <a:xfrm>
            <a:off x="6191364" y="2054513"/>
            <a:ext cx="2321771" cy="2453080"/>
          </a:xfrm>
          <a:prstGeom prst="rect">
            <a:avLst/>
          </a:prstGeom>
        </p:spPr>
      </p:pic>
      <p:sp>
        <p:nvSpPr>
          <p:cNvPr id="14" name="TextBox 13">
            <a:extLst>
              <a:ext uri="{FF2B5EF4-FFF2-40B4-BE49-F238E27FC236}">
                <a16:creationId xmlns:a16="http://schemas.microsoft.com/office/drawing/2014/main" id="{75671523-EF72-62F8-CDC6-91278D402C68}"/>
              </a:ext>
            </a:extLst>
          </p:cNvPr>
          <p:cNvSpPr txBox="1"/>
          <p:nvPr/>
        </p:nvSpPr>
        <p:spPr>
          <a:xfrm>
            <a:off x="6191364" y="1746736"/>
            <a:ext cx="2321771" cy="307777"/>
          </a:xfrm>
          <a:prstGeom prst="rect">
            <a:avLst/>
          </a:prstGeom>
          <a:noFill/>
        </p:spPr>
        <p:txBody>
          <a:bodyPr wrap="square">
            <a:spAutoFit/>
          </a:bodyPr>
          <a:lstStyle/>
          <a:p>
            <a:pPr algn="ctr"/>
            <a:r>
              <a:rPr lang="en-GB" b="1">
                <a:solidFill>
                  <a:srgbClr val="FF0000"/>
                </a:solidFill>
                <a:latin typeface="Tahoma" panose="020B0604030504040204" pitchFamily="34" charset="0"/>
                <a:ea typeface="Tahoma" panose="020B0604030504040204" pitchFamily="34" charset="0"/>
                <a:cs typeface="Tahoma" panose="020B0604030504040204" pitchFamily="34" charset="0"/>
              </a:rPr>
              <a:t>Not perfect!</a:t>
            </a:r>
            <a:endParaRPr lang="en-GB">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2763116A-E65E-2D52-53A8-FEFAED613EAF}"/>
              </a:ext>
            </a:extLst>
          </p:cNvPr>
          <p:cNvSpPr txBox="1"/>
          <p:nvPr/>
        </p:nvSpPr>
        <p:spPr>
          <a:xfrm>
            <a:off x="9905" y="4879439"/>
            <a:ext cx="8978973" cy="215444"/>
          </a:xfrm>
          <a:prstGeom prst="rect">
            <a:avLst/>
          </a:prstGeom>
          <a:noFill/>
        </p:spPr>
        <p:txBody>
          <a:bodyPr wrap="square">
            <a:spAutoFit/>
          </a:bodyPr>
          <a:lstStyle/>
          <a:p>
            <a:r>
              <a:rPr lang="en-GB" sz="800" baseline="30000">
                <a:solidFill>
                  <a:srgbClr val="0F1A42"/>
                </a:solidFill>
                <a:latin typeface="Tahoma" panose="020B0604030504040204" pitchFamily="34" charset="0"/>
                <a:ea typeface="Tahoma" panose="020B0604030504040204" pitchFamily="34" charset="0"/>
                <a:cs typeface="Tahoma" panose="020B0604030504040204" pitchFamily="34" charset="0"/>
              </a:rPr>
              <a:t>1</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rPr>
              <a:t>Using MTCNN package in Python: </a:t>
            </a:r>
            <a:r>
              <a:rPr lang="en-GB" sz="800">
                <a:solidFill>
                  <a:srgbClr val="13394F"/>
                </a:solidFill>
                <a:latin typeface="Tahoma" panose="020B0604030504040204" pitchFamily="34" charset="0"/>
                <a:ea typeface="Tahoma" panose="020B0604030504040204" pitchFamily="34" charset="0"/>
                <a:cs typeface="Tahoma" panose="020B0604030504040204" pitchFamily="34" charset="0"/>
                <a:hlinkClick r:id="rId7">
                  <a:extLst>
                    <a:ext uri="{A12FA001-AC4F-418D-AE19-62706E023703}">
                      <ahyp:hlinkClr xmlns:ahyp="http://schemas.microsoft.com/office/drawing/2018/hyperlinkcolor" val="tx"/>
                    </a:ext>
                  </a:extLst>
                </a:hlinkClick>
              </a:rPr>
              <a:t>https://pypi.org/project/mtcnn</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hlinkClick r:id="rId7">
                  <a:extLst>
                    <a:ext uri="{A12FA001-AC4F-418D-AE19-62706E023703}">
                      <ahyp:hlinkClr xmlns:ahyp="http://schemas.microsoft.com/office/drawing/2018/hyperlinkcolor" val="tx"/>
                    </a:ext>
                  </a:extLst>
                </a:hlinkClick>
              </a:rPr>
              <a:t>/</a:t>
            </a:r>
            <a:endParaRPr lang="en-GB" sz="800">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4E9AA7AF-BFA0-AEFC-47F0-617837164F27}"/>
              </a:ext>
            </a:extLst>
          </p:cNvPr>
          <p:cNvSpPr txBox="1"/>
          <p:nvPr/>
        </p:nvSpPr>
        <p:spPr>
          <a:xfrm>
            <a:off x="4120399" y="4690557"/>
            <a:ext cx="5013696" cy="461665"/>
          </a:xfrm>
          <a:prstGeom prst="rect">
            <a:avLst/>
          </a:prstGeom>
          <a:noFill/>
        </p:spPr>
        <p:txBody>
          <a:bodyPr wrap="square">
            <a:spAutoFit/>
          </a:bodyPr>
          <a:lstStyle/>
          <a:p>
            <a:r>
              <a:rPr lang="en-GB" sz="800" baseline="30000">
                <a:solidFill>
                  <a:srgbClr val="0F1A42"/>
                </a:solidFill>
                <a:latin typeface="Tahoma" panose="020B0604030504040204" pitchFamily="34" charset="0"/>
                <a:ea typeface="Tahoma" panose="020B0604030504040204" pitchFamily="34" charset="0"/>
                <a:cs typeface="Tahoma" panose="020B0604030504040204" pitchFamily="34" charset="0"/>
              </a:rPr>
              <a:t>2</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rPr>
              <a:t>Bakhshi, S., </a:t>
            </a:r>
            <a:r>
              <a:rPr lang="en-GB" sz="800" err="1">
                <a:solidFill>
                  <a:srgbClr val="0F1A42"/>
                </a:solidFill>
                <a:latin typeface="Tahoma" panose="020B0604030504040204" pitchFamily="34" charset="0"/>
                <a:ea typeface="Tahoma" panose="020B0604030504040204" pitchFamily="34" charset="0"/>
                <a:cs typeface="Tahoma" panose="020B0604030504040204" pitchFamily="34" charset="0"/>
              </a:rPr>
              <a:t>Shamma</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rPr>
              <a:t>, D. A., &amp; Gilbert, E. (2014). Faces engage us: photos with faces attract more likes and comments on Instagram. CHI '14: Proceedings of the SIGCHI Conference on Human Factors in Computing Systems, 965–974. </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hlinkClick r:id="rId8">
                  <a:extLst>
                    <a:ext uri="{A12FA001-AC4F-418D-AE19-62706E023703}">
                      <ahyp:hlinkClr xmlns:ahyp="http://schemas.microsoft.com/office/drawing/2018/hyperlinkcolor" val="tx"/>
                    </a:ext>
                  </a:extLst>
                </a:hlinkClick>
              </a:rPr>
              <a:t>https://doi.org/10.1145/2556288.2557403</a:t>
            </a:r>
            <a:r>
              <a:rPr lang="en-GB" sz="800">
                <a:solidFill>
                  <a:srgbClr val="0F1A42"/>
                </a:solidFill>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2610899722"/>
      </p:ext>
    </p:extLst>
  </p:cSld>
  <p:clrMapOvr>
    <a:masterClrMapping/>
  </p:clrMapOvr>
  <p:extLst>
    <p:ext uri="{6950BFC3-D8DA-4A85-94F7-54DA5524770B}">
      <p188:commentRel xmlns:p188="http://schemas.microsoft.com/office/powerpoint/2018/8/main" r:id="rId3"/>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FEATURES: </a:t>
            </a:r>
            <a:r>
              <a:rPr lang="en-GB" err="1"/>
              <a:t>contains_city</a:t>
            </a:r>
            <a:endParaRPr lang="en-GB"/>
          </a:p>
        </p:txBody>
      </p:sp>
      <p:sp>
        <p:nvSpPr>
          <p:cNvPr id="3" name="TextBox 2">
            <a:extLst>
              <a:ext uri="{FF2B5EF4-FFF2-40B4-BE49-F238E27FC236}">
                <a16:creationId xmlns:a16="http://schemas.microsoft.com/office/drawing/2014/main" id="{1328EE4B-CCD8-26EB-08A2-C7CAE243C3F0}"/>
              </a:ext>
            </a:extLst>
          </p:cNvPr>
          <p:cNvSpPr txBox="1"/>
          <p:nvPr/>
        </p:nvSpPr>
        <p:spPr>
          <a:xfrm>
            <a:off x="594629" y="1032519"/>
            <a:ext cx="8473707" cy="738664"/>
          </a:xfrm>
          <a:prstGeom prst="rect">
            <a:avLst/>
          </a:prstGeom>
          <a:noFill/>
        </p:spPr>
        <p:txBody>
          <a:bodyPr wrap="square" rtlCol="0">
            <a:spAutoFit/>
          </a:bodyPr>
          <a:lstStyle/>
          <a:p>
            <a:r>
              <a:rPr lang="en-GB" b="1">
                <a:latin typeface="Tahoma" panose="020B0604030504040204" pitchFamily="34" charset="0"/>
                <a:ea typeface="Tahoma" panose="020B0604030504040204" pitchFamily="34" charset="0"/>
                <a:cs typeface="Tahoma" panose="020B0604030504040204" pitchFamily="34" charset="0"/>
              </a:rPr>
              <a:t>Reasoning: </a:t>
            </a:r>
            <a:r>
              <a:rPr lang="en-GB">
                <a:latin typeface="Tahoma" panose="020B0604030504040204" pitchFamily="34" charset="0"/>
                <a:ea typeface="Tahoma" panose="020B0604030504040204" pitchFamily="34" charset="0"/>
                <a:cs typeface="Tahoma" panose="020B0604030504040204" pitchFamily="34" charset="0"/>
              </a:rPr>
              <a:t>Lufthansa often mentions cities and uses tags such as #lhcityofthemonth. Chauvinism of followers of the mentioned region might generate a higher engagement</a:t>
            </a:r>
          </a:p>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3" name="Arrow: Bent-Up 12">
            <a:extLst>
              <a:ext uri="{FF2B5EF4-FFF2-40B4-BE49-F238E27FC236}">
                <a16:creationId xmlns:a16="http://schemas.microsoft.com/office/drawing/2014/main" id="{EF8C85CB-0CB5-2A95-458B-850FC24399E9}"/>
              </a:ext>
            </a:extLst>
          </p:cNvPr>
          <p:cNvSpPr/>
          <p:nvPr/>
        </p:nvSpPr>
        <p:spPr>
          <a:xfrm rot="5400000">
            <a:off x="3824512" y="4063143"/>
            <a:ext cx="1441810" cy="291300"/>
          </a:xfrm>
          <a:prstGeom prst="bentUpArrow">
            <a:avLst/>
          </a:prstGeom>
          <a:solidFill>
            <a:srgbClr val="242F58"/>
          </a:solidFill>
          <a:ln>
            <a:solidFill>
              <a:srgbClr val="0A1D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9" name="Picture 18">
            <a:extLst>
              <a:ext uri="{FF2B5EF4-FFF2-40B4-BE49-F238E27FC236}">
                <a16:creationId xmlns:a16="http://schemas.microsoft.com/office/drawing/2014/main" id="{9977BBCC-AB4C-9409-C854-2BC9B2300F38}"/>
              </a:ext>
            </a:extLst>
          </p:cNvPr>
          <p:cNvPicPr>
            <a:picLocks noChangeAspect="1"/>
          </p:cNvPicPr>
          <p:nvPr/>
        </p:nvPicPr>
        <p:blipFill>
          <a:blip r:embed="rId3"/>
          <a:stretch>
            <a:fillRect/>
          </a:stretch>
        </p:blipFill>
        <p:spPr>
          <a:xfrm>
            <a:off x="1655960" y="3917692"/>
            <a:ext cx="1301839" cy="616314"/>
          </a:xfrm>
          <a:prstGeom prst="rect">
            <a:avLst/>
          </a:prstGeom>
        </p:spPr>
      </p:pic>
      <p:pic>
        <p:nvPicPr>
          <p:cNvPr id="9" name="Picture 8">
            <a:extLst>
              <a:ext uri="{FF2B5EF4-FFF2-40B4-BE49-F238E27FC236}">
                <a16:creationId xmlns:a16="http://schemas.microsoft.com/office/drawing/2014/main" id="{FB7582A7-3FCE-B599-5738-EBDB00390991}"/>
              </a:ext>
            </a:extLst>
          </p:cNvPr>
          <p:cNvPicPr>
            <a:picLocks noChangeAspect="1"/>
          </p:cNvPicPr>
          <p:nvPr/>
        </p:nvPicPr>
        <p:blipFill rotWithShape="1">
          <a:blip r:embed="rId4"/>
          <a:srcRect t="9051" b="8232"/>
          <a:stretch/>
        </p:blipFill>
        <p:spPr>
          <a:xfrm>
            <a:off x="1364639" y="2415049"/>
            <a:ext cx="1828823" cy="431513"/>
          </a:xfrm>
          <a:prstGeom prst="rect">
            <a:avLst/>
          </a:prstGeom>
        </p:spPr>
      </p:pic>
      <p:pic>
        <p:nvPicPr>
          <p:cNvPr id="15" name="Picture 14">
            <a:extLst>
              <a:ext uri="{FF2B5EF4-FFF2-40B4-BE49-F238E27FC236}">
                <a16:creationId xmlns:a16="http://schemas.microsoft.com/office/drawing/2014/main" id="{6A28D835-035E-7DCB-DC16-5039222463D6}"/>
              </a:ext>
            </a:extLst>
          </p:cNvPr>
          <p:cNvPicPr>
            <a:picLocks noChangeAspect="1"/>
          </p:cNvPicPr>
          <p:nvPr/>
        </p:nvPicPr>
        <p:blipFill rotWithShape="1">
          <a:blip r:embed="rId5"/>
          <a:srcRect l="292" r="1"/>
          <a:stretch/>
        </p:blipFill>
        <p:spPr>
          <a:xfrm>
            <a:off x="362958" y="3002629"/>
            <a:ext cx="3550220" cy="1011503"/>
          </a:xfrm>
          <a:prstGeom prst="rect">
            <a:avLst/>
          </a:prstGeom>
        </p:spPr>
      </p:pic>
      <p:sp>
        <p:nvSpPr>
          <p:cNvPr id="21" name="TextBox 20">
            <a:extLst>
              <a:ext uri="{FF2B5EF4-FFF2-40B4-BE49-F238E27FC236}">
                <a16:creationId xmlns:a16="http://schemas.microsoft.com/office/drawing/2014/main" id="{AA904B20-47B3-8296-5D2B-8A3A8DF20BD1}"/>
              </a:ext>
            </a:extLst>
          </p:cNvPr>
          <p:cNvSpPr txBox="1"/>
          <p:nvPr/>
        </p:nvSpPr>
        <p:spPr>
          <a:xfrm>
            <a:off x="864420" y="2105493"/>
            <a:ext cx="3048758" cy="261610"/>
          </a:xfrm>
          <a:prstGeom prst="rect">
            <a:avLst/>
          </a:prstGeom>
          <a:noFill/>
        </p:spPr>
        <p:txBody>
          <a:bodyPr wrap="square">
            <a:spAutoFit/>
          </a:bodyPr>
          <a:lstStyle/>
          <a:p>
            <a:r>
              <a:rPr lang="en-GB" sz="1100" b="1">
                <a:latin typeface="Tahoma" panose="020B0604030504040204" pitchFamily="34" charset="0"/>
                <a:ea typeface="Tahoma" panose="020B0604030504040204" pitchFamily="34" charset="0"/>
                <a:cs typeface="Tahoma" panose="020B0604030504040204" pitchFamily="34" charset="0"/>
              </a:rPr>
              <a:t>Method 1: </a:t>
            </a:r>
            <a:r>
              <a:rPr lang="en-GB" sz="1100">
                <a:latin typeface="Tahoma" panose="020B0604030504040204" pitchFamily="34" charset="0"/>
                <a:ea typeface="Tahoma" panose="020B0604030504040204" pitchFamily="34" charset="0"/>
                <a:cs typeface="Tahoma" panose="020B0604030504040204" pitchFamily="34" charset="0"/>
              </a:rPr>
              <a:t>Matching with external database</a:t>
            </a:r>
            <a:endParaRPr lang="en-BE" sz="1100">
              <a:latin typeface="Tahoma" panose="020B0604030504040204" pitchFamily="34" charset="0"/>
              <a:ea typeface="Tahoma" panose="020B0604030504040204" pitchFamily="34" charset="0"/>
              <a:cs typeface="Tahoma" panose="020B0604030504040204" pitchFamily="34" charset="0"/>
            </a:endParaRPr>
          </a:p>
        </p:txBody>
      </p:sp>
      <p:pic>
        <p:nvPicPr>
          <p:cNvPr id="5" name="Picture 4">
            <a:extLst>
              <a:ext uri="{FF2B5EF4-FFF2-40B4-BE49-F238E27FC236}">
                <a16:creationId xmlns:a16="http://schemas.microsoft.com/office/drawing/2014/main" id="{5D5AA340-DD0A-AB96-2A19-245F356ED73E}"/>
              </a:ext>
            </a:extLst>
          </p:cNvPr>
          <p:cNvPicPr>
            <a:picLocks noChangeAspect="1"/>
          </p:cNvPicPr>
          <p:nvPr/>
        </p:nvPicPr>
        <p:blipFill>
          <a:blip r:embed="rId6"/>
          <a:stretch>
            <a:fillRect/>
          </a:stretch>
        </p:blipFill>
        <p:spPr>
          <a:xfrm>
            <a:off x="4821981" y="2630805"/>
            <a:ext cx="4122447" cy="1146805"/>
          </a:xfrm>
          <a:prstGeom prst="rect">
            <a:avLst/>
          </a:prstGeom>
        </p:spPr>
      </p:pic>
      <p:sp>
        <p:nvSpPr>
          <p:cNvPr id="6" name="Oval 5">
            <a:extLst>
              <a:ext uri="{FF2B5EF4-FFF2-40B4-BE49-F238E27FC236}">
                <a16:creationId xmlns:a16="http://schemas.microsoft.com/office/drawing/2014/main" id="{B4750AAA-1886-811E-56E2-36AD1A8D916B}"/>
              </a:ext>
            </a:extLst>
          </p:cNvPr>
          <p:cNvSpPr/>
          <p:nvPr/>
        </p:nvSpPr>
        <p:spPr>
          <a:xfrm>
            <a:off x="0" y="1819129"/>
            <a:ext cx="4773738" cy="2830530"/>
          </a:xfrm>
          <a:prstGeom prst="ellipse">
            <a:avLst/>
          </a:prstGeom>
          <a:noFill/>
          <a:ln>
            <a:solidFill>
              <a:srgbClr val="0A1D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8" name="Oval 7">
            <a:extLst>
              <a:ext uri="{FF2B5EF4-FFF2-40B4-BE49-F238E27FC236}">
                <a16:creationId xmlns:a16="http://schemas.microsoft.com/office/drawing/2014/main" id="{2BB30C73-46C1-CD32-26EE-AA2CF73FFF37}"/>
              </a:ext>
            </a:extLst>
          </p:cNvPr>
          <p:cNvSpPr/>
          <p:nvPr/>
        </p:nvSpPr>
        <p:spPr>
          <a:xfrm>
            <a:off x="4039136" y="1771183"/>
            <a:ext cx="5104864" cy="2830530"/>
          </a:xfrm>
          <a:prstGeom prst="ellipse">
            <a:avLst/>
          </a:prstGeom>
          <a:noFill/>
          <a:ln>
            <a:solidFill>
              <a:srgbClr val="0A1D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grpSp>
        <p:nvGrpSpPr>
          <p:cNvPr id="12" name="Group 11">
            <a:extLst>
              <a:ext uri="{FF2B5EF4-FFF2-40B4-BE49-F238E27FC236}">
                <a16:creationId xmlns:a16="http://schemas.microsoft.com/office/drawing/2014/main" id="{560DCD93-004B-6D9D-730D-CDA127B42D99}"/>
              </a:ext>
            </a:extLst>
          </p:cNvPr>
          <p:cNvGrpSpPr/>
          <p:nvPr/>
        </p:nvGrpSpPr>
        <p:grpSpPr>
          <a:xfrm>
            <a:off x="4039136" y="2571750"/>
            <a:ext cx="734602" cy="1323263"/>
            <a:chOff x="4039136" y="2571750"/>
            <a:chExt cx="734602" cy="1323263"/>
          </a:xfrm>
        </p:grpSpPr>
        <p:cxnSp>
          <p:nvCxnSpPr>
            <p:cNvPr id="22" name="Straight Connector 21">
              <a:extLst>
                <a:ext uri="{FF2B5EF4-FFF2-40B4-BE49-F238E27FC236}">
                  <a16:creationId xmlns:a16="http://schemas.microsoft.com/office/drawing/2014/main" id="{918FAD1A-D2F6-3287-6664-2E5B3C41E776}"/>
                </a:ext>
              </a:extLst>
            </p:cNvPr>
            <p:cNvCxnSpPr>
              <a:cxnSpLocks/>
            </p:cNvCxnSpPr>
            <p:nvPr/>
          </p:nvCxnSpPr>
          <p:spPr>
            <a:xfrm>
              <a:off x="4299546" y="2571750"/>
              <a:ext cx="391521" cy="306080"/>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855CD43-62DF-15F0-93E4-0A8AD1198F9E}"/>
                </a:ext>
              </a:extLst>
            </p:cNvPr>
            <p:cNvCxnSpPr>
              <a:cxnSpLocks/>
              <a:endCxn id="6" idx="6"/>
            </p:cNvCxnSpPr>
            <p:nvPr/>
          </p:nvCxnSpPr>
          <p:spPr>
            <a:xfrm>
              <a:off x="4167360" y="2727817"/>
              <a:ext cx="606378" cy="506577"/>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82D6B06-F37E-54F0-09A6-404FF16285D0}"/>
                </a:ext>
              </a:extLst>
            </p:cNvPr>
            <p:cNvCxnSpPr>
              <a:cxnSpLocks/>
            </p:cNvCxnSpPr>
            <p:nvPr/>
          </p:nvCxnSpPr>
          <p:spPr>
            <a:xfrm>
              <a:off x="4061287" y="2978639"/>
              <a:ext cx="669422" cy="509249"/>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316956-8C5D-EC3B-619F-C6B5C8028110}"/>
                </a:ext>
              </a:extLst>
            </p:cNvPr>
            <p:cNvCxnSpPr>
              <a:cxnSpLocks/>
              <a:stCxn id="8" idx="2"/>
            </p:cNvCxnSpPr>
            <p:nvPr/>
          </p:nvCxnSpPr>
          <p:spPr>
            <a:xfrm>
              <a:off x="4039136" y="3186448"/>
              <a:ext cx="618433" cy="455071"/>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761E32E-F7C7-D2CB-0B90-9CFB39775B80}"/>
                </a:ext>
              </a:extLst>
            </p:cNvPr>
            <p:cNvCxnSpPr>
              <a:cxnSpLocks/>
            </p:cNvCxnSpPr>
            <p:nvPr/>
          </p:nvCxnSpPr>
          <p:spPr>
            <a:xfrm>
              <a:off x="4070031" y="3414738"/>
              <a:ext cx="483224" cy="390573"/>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272A90-8F83-E1BA-0659-B659A001D61F}"/>
                </a:ext>
              </a:extLst>
            </p:cNvPr>
            <p:cNvCxnSpPr>
              <a:cxnSpLocks/>
            </p:cNvCxnSpPr>
            <p:nvPr/>
          </p:nvCxnSpPr>
          <p:spPr>
            <a:xfrm>
              <a:off x="4167360" y="3616494"/>
              <a:ext cx="339329" cy="278519"/>
            </a:xfrm>
            <a:prstGeom prst="line">
              <a:avLst/>
            </a:prstGeom>
            <a:ln>
              <a:solidFill>
                <a:srgbClr val="242F58"/>
              </a:solidFill>
            </a:ln>
          </p:spPr>
          <p:style>
            <a:lnRef idx="1">
              <a:schemeClr val="accent1"/>
            </a:lnRef>
            <a:fillRef idx="0">
              <a:schemeClr val="accent1"/>
            </a:fillRef>
            <a:effectRef idx="0">
              <a:schemeClr val="accent1"/>
            </a:effectRef>
            <a:fontRef idx="minor">
              <a:schemeClr val="tx1"/>
            </a:fontRef>
          </p:style>
        </p:cxnSp>
      </p:grpSp>
      <p:pic>
        <p:nvPicPr>
          <p:cNvPr id="1026" name="Picture 2" descr="No description available.">
            <a:extLst>
              <a:ext uri="{FF2B5EF4-FFF2-40B4-BE49-F238E27FC236}">
                <a16:creationId xmlns:a16="http://schemas.microsoft.com/office/drawing/2014/main" id="{53A7F55C-6B5A-939C-0C61-5D498D7719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8199" y="3749019"/>
            <a:ext cx="1309949" cy="76725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 description available.">
            <a:extLst>
              <a:ext uri="{FF2B5EF4-FFF2-40B4-BE49-F238E27FC236}">
                <a16:creationId xmlns:a16="http://schemas.microsoft.com/office/drawing/2014/main" id="{4DDC36A9-F15F-1D41-232A-5E51F5D9CA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0709" y="4525703"/>
            <a:ext cx="891822" cy="61779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7C3CC2A-99C8-1C39-BF1B-936AAC1D7CD5}"/>
              </a:ext>
            </a:extLst>
          </p:cNvPr>
          <p:cNvSpPr txBox="1"/>
          <p:nvPr/>
        </p:nvSpPr>
        <p:spPr>
          <a:xfrm>
            <a:off x="5038769" y="2105493"/>
            <a:ext cx="3369641" cy="261610"/>
          </a:xfrm>
          <a:prstGeom prst="rect">
            <a:avLst/>
          </a:prstGeom>
          <a:noFill/>
        </p:spPr>
        <p:txBody>
          <a:bodyPr wrap="square">
            <a:spAutoFit/>
          </a:bodyPr>
          <a:lstStyle/>
          <a:p>
            <a:r>
              <a:rPr lang="en-GB" sz="1100" b="1">
                <a:latin typeface="Tahoma" panose="020B0604030504040204" pitchFamily="34" charset="0"/>
                <a:ea typeface="Tahoma" panose="020B0604030504040204" pitchFamily="34" charset="0"/>
                <a:cs typeface="Tahoma" panose="020B0604030504040204" pitchFamily="34" charset="0"/>
              </a:rPr>
              <a:t>Method 2: </a:t>
            </a:r>
            <a:r>
              <a:rPr lang="en-GB" sz="1100">
                <a:latin typeface="Tahoma" panose="020B0604030504040204" pitchFamily="34" charset="0"/>
                <a:ea typeface="Tahoma" panose="020B0604030504040204" pitchFamily="34" charset="0"/>
                <a:cs typeface="Tahoma" panose="020B0604030504040204" pitchFamily="34" charset="0"/>
              </a:rPr>
              <a:t>Named Entity Recognition (NER)</a:t>
            </a:r>
          </a:p>
        </p:txBody>
      </p:sp>
      <p:sp>
        <p:nvSpPr>
          <p:cNvPr id="14" name="TextBox 13">
            <a:extLst>
              <a:ext uri="{FF2B5EF4-FFF2-40B4-BE49-F238E27FC236}">
                <a16:creationId xmlns:a16="http://schemas.microsoft.com/office/drawing/2014/main" id="{9B9A20D8-2DE2-B83A-FD2C-5A1E056F42BD}"/>
              </a:ext>
            </a:extLst>
          </p:cNvPr>
          <p:cNvSpPr txBox="1"/>
          <p:nvPr/>
        </p:nvSpPr>
        <p:spPr>
          <a:xfrm>
            <a:off x="3198361" y="2445718"/>
            <a:ext cx="758104" cy="415498"/>
          </a:xfrm>
          <a:prstGeom prst="rect">
            <a:avLst/>
          </a:prstGeom>
          <a:noFill/>
        </p:spPr>
        <p:txBody>
          <a:bodyPr wrap="square" rtlCol="0">
            <a:spAutoFit/>
          </a:bodyPr>
          <a:lstStyle/>
          <a:p>
            <a:r>
              <a:rPr lang="en-GB" sz="1050" b="1">
                <a:solidFill>
                  <a:srgbClr val="0F1A42"/>
                </a:solidFill>
                <a:latin typeface="Tahoma" panose="020B0604030504040204" pitchFamily="34" charset="0"/>
                <a:ea typeface="Tahoma" panose="020B0604030504040204" pitchFamily="34" charset="0"/>
                <a:cs typeface="Tahoma" panose="020B0604030504040204" pitchFamily="34" charset="0"/>
              </a:rPr>
              <a:t>44k+ cities</a:t>
            </a:r>
          </a:p>
        </p:txBody>
      </p:sp>
    </p:spTree>
    <p:extLst>
      <p:ext uri="{BB962C8B-B14F-4D97-AF65-F5344CB8AC3E}">
        <p14:creationId xmlns:p14="http://schemas.microsoft.com/office/powerpoint/2010/main" val="7711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8" grpId="0" animBg="1"/>
      <p:bldP spid="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288F6-EF28-5FFA-3BA2-84C4A2870D39}"/>
              </a:ext>
            </a:extLst>
          </p:cNvPr>
          <p:cNvSpPr>
            <a:spLocks noGrp="1"/>
          </p:cNvSpPr>
          <p:nvPr>
            <p:ph type="title"/>
          </p:nvPr>
        </p:nvSpPr>
        <p:spPr/>
        <p:txBody>
          <a:bodyPr/>
          <a:lstStyle/>
          <a:p>
            <a:r>
              <a:rPr lang="en-GB">
                <a:latin typeface="Bebas Neue" panose="020B0606020202050201" pitchFamily="34" charset="0"/>
                <a:ea typeface="Tahoma" panose="020B0604030504040204" pitchFamily="34" charset="0"/>
                <a:cs typeface="Tahoma" panose="020B0604030504040204" pitchFamily="34" charset="0"/>
              </a:rPr>
              <a:t>Feature selection</a:t>
            </a:r>
            <a:endParaRPr lang="en-BE">
              <a:latin typeface="Bebas Neue" panose="020B0606020202050201" pitchFamily="34" charset="0"/>
              <a:ea typeface="Tahoma" panose="020B0604030504040204" pitchFamily="34" charset="0"/>
              <a:cs typeface="Tahoma" panose="020B0604030504040204" pitchFamily="34" charset="0"/>
            </a:endParaRPr>
          </a:p>
        </p:txBody>
      </p:sp>
      <p:grpSp>
        <p:nvGrpSpPr>
          <p:cNvPr id="59" name="Group 58">
            <a:extLst>
              <a:ext uri="{FF2B5EF4-FFF2-40B4-BE49-F238E27FC236}">
                <a16:creationId xmlns:a16="http://schemas.microsoft.com/office/drawing/2014/main" id="{8B0D4A86-0D0F-3F5C-4955-C0F05130BAE2}"/>
              </a:ext>
            </a:extLst>
          </p:cNvPr>
          <p:cNvGrpSpPr/>
          <p:nvPr/>
        </p:nvGrpSpPr>
        <p:grpSpPr>
          <a:xfrm>
            <a:off x="2851058" y="2020820"/>
            <a:ext cx="1237046" cy="1176877"/>
            <a:chOff x="4572000" y="1813889"/>
            <a:chExt cx="1232455" cy="1232455"/>
          </a:xfrm>
        </p:grpSpPr>
        <p:pic>
          <p:nvPicPr>
            <p:cNvPr id="56" name="Graphic 55" descr="Magnifying glass with solid fill">
              <a:extLst>
                <a:ext uri="{FF2B5EF4-FFF2-40B4-BE49-F238E27FC236}">
                  <a16:creationId xmlns:a16="http://schemas.microsoft.com/office/drawing/2014/main" id="{B9F5713F-C924-DF96-BDC2-9A2EDEA427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0" y="1813889"/>
              <a:ext cx="1232455" cy="1232455"/>
            </a:xfrm>
            <a:prstGeom prst="rect">
              <a:avLst/>
            </a:prstGeom>
          </p:spPr>
        </p:pic>
        <p:sp>
          <p:nvSpPr>
            <p:cNvPr id="58" name="TextBox 57">
              <a:extLst>
                <a:ext uri="{FF2B5EF4-FFF2-40B4-BE49-F238E27FC236}">
                  <a16:creationId xmlns:a16="http://schemas.microsoft.com/office/drawing/2014/main" id="{387AD17F-7017-3D7D-CD29-CA1C1DE2238B}"/>
                </a:ext>
              </a:extLst>
            </p:cNvPr>
            <p:cNvSpPr txBox="1"/>
            <p:nvPr/>
          </p:nvSpPr>
          <p:spPr>
            <a:xfrm>
              <a:off x="4727788" y="2091990"/>
              <a:ext cx="773294" cy="419005"/>
            </a:xfrm>
            <a:prstGeom prst="rect">
              <a:avLst/>
            </a:prstGeom>
            <a:noFill/>
          </p:spPr>
          <p:txBody>
            <a:bodyPr wrap="square" rtlCol="0">
              <a:spAutoFit/>
            </a:bodyPr>
            <a:lstStyle/>
            <a:p>
              <a:r>
                <a:rPr lang="en-GB" sz="2000" b="1">
                  <a:solidFill>
                    <a:srgbClr val="242F58"/>
                  </a:solidFill>
                  <a:latin typeface="Tahoma" panose="020B0604030504040204" pitchFamily="34" charset="0"/>
                  <a:ea typeface="Tahoma" panose="020B0604030504040204" pitchFamily="34" charset="0"/>
                  <a:cs typeface="Tahoma" panose="020B0604030504040204" pitchFamily="34" charset="0"/>
                </a:rPr>
                <a:t>RFE</a:t>
              </a:r>
              <a:endParaRPr lang="en-BE" sz="2000" b="1">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grpSp>
      <p:sp>
        <p:nvSpPr>
          <p:cNvPr id="67" name="Arrow: Right 66">
            <a:extLst>
              <a:ext uri="{FF2B5EF4-FFF2-40B4-BE49-F238E27FC236}">
                <a16:creationId xmlns:a16="http://schemas.microsoft.com/office/drawing/2014/main" id="{80BF5B90-CF2C-003F-5C10-82C86C6416DD}"/>
              </a:ext>
            </a:extLst>
          </p:cNvPr>
          <p:cNvSpPr/>
          <p:nvPr/>
        </p:nvSpPr>
        <p:spPr>
          <a:xfrm>
            <a:off x="3188035" y="3048746"/>
            <a:ext cx="521938" cy="377687"/>
          </a:xfrm>
          <a:prstGeom prst="rightArrow">
            <a:avLst/>
          </a:prstGeom>
          <a:solidFill>
            <a:srgbClr val="2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latin typeface="Tahoma" panose="020B0604030504040204" pitchFamily="34" charset="0"/>
              <a:ea typeface="Tahoma" panose="020B0604030504040204" pitchFamily="34" charset="0"/>
              <a:cs typeface="Tahoma" panose="020B0604030504040204" pitchFamily="34" charset="0"/>
            </a:endParaRPr>
          </a:p>
        </p:txBody>
      </p:sp>
      <p:pic>
        <p:nvPicPr>
          <p:cNvPr id="1026" name="Picture 2">
            <a:extLst>
              <a:ext uri="{FF2B5EF4-FFF2-40B4-BE49-F238E27FC236}">
                <a16:creationId xmlns:a16="http://schemas.microsoft.com/office/drawing/2014/main" id="{2E2B5C68-562D-B77F-82CA-1455A9AC1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8104" y="1883298"/>
            <a:ext cx="2828864" cy="222478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786FF9E-0B30-8249-1559-2E4001BA6292}"/>
              </a:ext>
            </a:extLst>
          </p:cNvPr>
          <p:cNvPicPr>
            <a:picLocks noChangeAspect="1"/>
          </p:cNvPicPr>
          <p:nvPr/>
        </p:nvPicPr>
        <p:blipFill>
          <a:blip r:embed="rId6"/>
          <a:stretch>
            <a:fillRect/>
          </a:stretch>
        </p:blipFill>
        <p:spPr>
          <a:xfrm>
            <a:off x="398010" y="2020820"/>
            <a:ext cx="2446365" cy="1932764"/>
          </a:xfrm>
          <a:prstGeom prst="rect">
            <a:avLst/>
          </a:prstGeom>
        </p:spPr>
      </p:pic>
      <p:sp>
        <p:nvSpPr>
          <p:cNvPr id="6" name="TextBox 5">
            <a:extLst>
              <a:ext uri="{FF2B5EF4-FFF2-40B4-BE49-F238E27FC236}">
                <a16:creationId xmlns:a16="http://schemas.microsoft.com/office/drawing/2014/main" id="{146D0053-F3D1-B425-5F65-6247767744D1}"/>
              </a:ext>
            </a:extLst>
          </p:cNvPr>
          <p:cNvSpPr txBox="1"/>
          <p:nvPr/>
        </p:nvSpPr>
        <p:spPr>
          <a:xfrm>
            <a:off x="592485" y="848578"/>
            <a:ext cx="5713038" cy="1384995"/>
          </a:xfrm>
          <a:prstGeom prst="rect">
            <a:avLst/>
          </a:prstGeom>
          <a:noFill/>
        </p:spPr>
        <p:txBody>
          <a:bodyPr wrap="square" rtlCol="0">
            <a:spAutoFit/>
          </a:bodyPr>
          <a:lstStyle/>
          <a:p>
            <a:r>
              <a:rPr lang="en-GB" b="1">
                <a:solidFill>
                  <a:srgbClr val="242F58"/>
                </a:solidFill>
                <a:latin typeface="Tahoma" panose="020B0604030504040204" pitchFamily="34" charset="0"/>
                <a:ea typeface="Tahoma" panose="020B0604030504040204" pitchFamily="34" charset="0"/>
                <a:cs typeface="Tahoma" panose="020B0604030504040204" pitchFamily="34" charset="0"/>
              </a:rPr>
              <a:t>Recursive Feature Elimination (RFE)</a:t>
            </a:r>
          </a:p>
          <a:p>
            <a:pPr marL="285750" indent="-285750">
              <a:buFont typeface="Arial" panose="020B0604020202020204" pitchFamily="34" charset="0"/>
              <a:buChar char="•"/>
            </a:pPr>
            <a:endParaRPr lang="en-GB" b="1">
              <a:solidFill>
                <a:srgbClr val="242F58"/>
              </a:solidFill>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en-GB" b="1">
              <a:solidFill>
                <a:srgbClr val="242F58"/>
              </a:solidFill>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GB">
                <a:solidFill>
                  <a:srgbClr val="242F58"/>
                </a:solidFill>
                <a:latin typeface="Tahoma" panose="020B0604030504040204" pitchFamily="34" charset="0"/>
                <a:ea typeface="Tahoma" panose="020B0604030504040204" pitchFamily="34" charset="0"/>
                <a:cs typeface="Tahoma" panose="020B0604030504040204" pitchFamily="34" charset="0"/>
              </a:rPr>
              <a:t>No support for </a:t>
            </a:r>
            <a:r>
              <a:rPr lang="en-GB" b="1" err="1">
                <a:solidFill>
                  <a:srgbClr val="242F58"/>
                </a:solidFill>
                <a:latin typeface="Tahoma" panose="020B0604030504040204" pitchFamily="34" charset="0"/>
                <a:ea typeface="Tahoma" panose="020B0604030504040204" pitchFamily="34" charset="0"/>
                <a:cs typeface="Tahoma" panose="020B0604030504040204" pitchFamily="34" charset="0"/>
              </a:rPr>
              <a:t>PySpark</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 </a:t>
            </a:r>
            <a:r>
              <a:rPr lang="en-GB">
                <a:solidFill>
                  <a:srgbClr val="242F58"/>
                </a:solidFill>
                <a:latin typeface="Tahoma" panose="020B0604030504040204" pitchFamily="34" charset="0"/>
                <a:ea typeface="Tahoma" panose="020B0604030504040204" pitchFamily="34" charset="0"/>
                <a:cs typeface="Tahoma" panose="020B0604030504040204" pitchFamily="34" charset="0"/>
                <a:sym typeface="Wingdings" pitchFamily="2" charset="2"/>
              </a:rPr>
              <a:t></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 Implemented through </a:t>
            </a: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scikit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Python)</a:t>
            </a:r>
          </a:p>
          <a:p>
            <a:pPr marL="285750" lvl="3" indent="-285750">
              <a:buFont typeface="Arial" panose="020B0604020202020204" pitchFamily="34" charset="0"/>
              <a:buChar char="•"/>
            </a:pPr>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a:p>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sp>
        <p:nvSpPr>
          <p:cNvPr id="7" name="Arrow: Right 6">
            <a:extLst>
              <a:ext uri="{FF2B5EF4-FFF2-40B4-BE49-F238E27FC236}">
                <a16:creationId xmlns:a16="http://schemas.microsoft.com/office/drawing/2014/main" id="{199FFE48-61FB-4D47-C5AE-7A9E4472E758}"/>
              </a:ext>
            </a:extLst>
          </p:cNvPr>
          <p:cNvSpPr/>
          <p:nvPr/>
        </p:nvSpPr>
        <p:spPr>
          <a:xfrm>
            <a:off x="7059299" y="3048746"/>
            <a:ext cx="521938" cy="377687"/>
          </a:xfrm>
          <a:prstGeom prst="rightArrow">
            <a:avLst/>
          </a:prstGeom>
          <a:solidFill>
            <a:srgbClr val="242F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latin typeface="Tahoma" panose="020B060403050404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B90460E6-4EFA-E8A3-A2B9-ED55210E1A13}"/>
              </a:ext>
            </a:extLst>
          </p:cNvPr>
          <p:cNvSpPr txBox="1"/>
          <p:nvPr/>
        </p:nvSpPr>
        <p:spPr>
          <a:xfrm>
            <a:off x="7581236" y="3048746"/>
            <a:ext cx="1562763" cy="307777"/>
          </a:xfrm>
          <a:prstGeom prst="rect">
            <a:avLst/>
          </a:prstGeom>
          <a:noFill/>
        </p:spPr>
        <p:txBody>
          <a:bodyPr wrap="square" rtlCol="0">
            <a:spAutoFit/>
          </a:bodyPr>
          <a:lstStyle/>
          <a:p>
            <a:pPr algn="ct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14 variables</a:t>
            </a:r>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a:extLst>
              <a:ext uri="{FF2B5EF4-FFF2-40B4-BE49-F238E27FC236}">
                <a16:creationId xmlns:a16="http://schemas.microsoft.com/office/drawing/2014/main" id="{6A6D70F0-1DA4-8808-5521-64C748E73166}"/>
              </a:ext>
            </a:extLst>
          </p:cNvPr>
          <p:cNvSpPr txBox="1"/>
          <p:nvPr/>
        </p:nvSpPr>
        <p:spPr>
          <a:xfrm>
            <a:off x="573741" y="3814094"/>
            <a:ext cx="7445504" cy="1384995"/>
          </a:xfrm>
          <a:prstGeom prst="rect">
            <a:avLst/>
          </a:prstGeom>
          <a:noFill/>
        </p:spPr>
        <p:txBody>
          <a:bodyPr wrap="square" rtlCol="0">
            <a:spAutoFit/>
          </a:bodyPr>
          <a:lstStyle/>
          <a:p>
            <a:pPr marL="285750" indent="-285750">
              <a:buFont typeface="Arial" panose="020B0604020202020204" pitchFamily="34" charset="0"/>
              <a:buChar char="•"/>
            </a:pPr>
            <a:endParaRPr lang="en-GB" b="1">
              <a:solidFill>
                <a:srgbClr val="242F58"/>
              </a:solidFill>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en-GB" b="1">
              <a:solidFill>
                <a:srgbClr val="242F58"/>
              </a:solidFill>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BUT</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 Selection did not seem robust (different variables each time)</a:t>
            </a:r>
          </a:p>
          <a:p>
            <a:pPr marL="285750" indent="-285750">
              <a:buFont typeface="Arial" panose="020B0604020202020204" pitchFamily="34" charset="0"/>
              <a:buChar char="•"/>
            </a:pPr>
            <a:r>
              <a:rPr lang="en-GB">
                <a:solidFill>
                  <a:srgbClr val="242F58"/>
                </a:solidFill>
                <a:latin typeface="Tahoma" panose="020B0604030504040204" pitchFamily="34" charset="0"/>
                <a:ea typeface="Tahoma" panose="020B0604030504040204" pitchFamily="34" charset="0"/>
                <a:cs typeface="Tahoma" panose="020B0604030504040204" pitchFamily="34" charset="0"/>
                <a:sym typeface="Wingdings" pitchFamily="2" charset="2"/>
              </a:rPr>
              <a:t></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 </a:t>
            </a: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Discontinued feature selection</a:t>
            </a:r>
          </a:p>
          <a:p>
            <a:pPr marL="285750" lvl="3" indent="-285750">
              <a:buFont typeface="Arial" panose="020B0604020202020204" pitchFamily="34" charset="0"/>
              <a:buChar char="•"/>
            </a:pPr>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a:p>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046385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1CC72-7A8C-E903-8F5A-B0F2E5CF034A}"/>
              </a:ext>
            </a:extLst>
          </p:cNvPr>
          <p:cNvSpPr>
            <a:spLocks noGrp="1"/>
          </p:cNvSpPr>
          <p:nvPr>
            <p:ph type="title"/>
          </p:nvPr>
        </p:nvSpPr>
        <p:spPr/>
        <p:txBody>
          <a:bodyPr/>
          <a:lstStyle/>
          <a:p>
            <a:r>
              <a:rPr lang="nl-NL"/>
              <a:t>DATA CUT-OFF</a:t>
            </a:r>
            <a:endParaRPr lang="nl-BE"/>
          </a:p>
        </p:txBody>
      </p:sp>
      <p:sp>
        <p:nvSpPr>
          <p:cNvPr id="3" name="Tijdelijke aanduiding voor tekst 2">
            <a:extLst>
              <a:ext uri="{FF2B5EF4-FFF2-40B4-BE49-F238E27FC236}">
                <a16:creationId xmlns:a16="http://schemas.microsoft.com/office/drawing/2014/main" id="{2CB40F5F-8EC0-9A23-3412-48568245EE4C}"/>
              </a:ext>
            </a:extLst>
          </p:cNvPr>
          <p:cNvSpPr>
            <a:spLocks noGrp="1"/>
          </p:cNvSpPr>
          <p:nvPr>
            <p:ph type="body" idx="1"/>
          </p:nvPr>
        </p:nvSpPr>
        <p:spPr>
          <a:xfrm>
            <a:off x="573741" y="863481"/>
            <a:ext cx="7978148" cy="2803800"/>
          </a:xfrm>
        </p:spPr>
        <p:txBody>
          <a:bodyPr/>
          <a:lstStyle/>
          <a:p>
            <a:pPr marL="139700" indent="0">
              <a:buNone/>
            </a:pPr>
            <a:r>
              <a:rPr lang="nl-BE" b="1">
                <a:solidFill>
                  <a:srgbClr val="0F1A42"/>
                </a:solidFill>
                <a:latin typeface="Tahoma" panose="020B0604030504040204" pitchFamily="34" charset="0"/>
                <a:ea typeface="Tahoma" panose="020B0604030504040204" pitchFamily="34" charset="0"/>
                <a:cs typeface="Tahoma" panose="020B0604030504040204" pitchFamily="34" charset="0"/>
              </a:rPr>
              <a:t>Cut-off in September 2016</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data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before</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it</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clearly</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shows trend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and</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makes</a:t>
            </a:r>
            <a:r>
              <a:rPr lang="nl-BE">
                <a:solidFill>
                  <a:srgbClr val="0F1A42"/>
                </a:solidFill>
                <a:latin typeface="Tahoma" panose="020B0604030504040204" pitchFamily="34" charset="0"/>
                <a:ea typeface="Tahoma" panose="020B0604030504040204" pitchFamily="34" charset="0"/>
                <a:cs typeface="Tahoma" panose="020B0604030504040204" pitchFamily="34" charset="0"/>
              </a:rPr>
              <a:t> data </a:t>
            </a:r>
            <a:r>
              <a:rPr lang="nl-BE" err="1">
                <a:solidFill>
                  <a:srgbClr val="0F1A42"/>
                </a:solidFill>
                <a:latin typeface="Tahoma" panose="020B0604030504040204" pitchFamily="34" charset="0"/>
                <a:ea typeface="Tahoma" panose="020B0604030504040204" pitchFamily="34" charset="0"/>
                <a:cs typeface="Tahoma" panose="020B0604030504040204" pitchFamily="34" charset="0"/>
              </a:rPr>
              <a:t>unstationary</a:t>
            </a:r>
            <a:endParaRPr lang="nl-BE" b="1">
              <a:solidFill>
                <a:srgbClr val="0F1A42"/>
              </a:solidFill>
              <a:latin typeface="Tahoma" panose="020B0604030504040204" pitchFamily="34" charset="0"/>
              <a:ea typeface="Tahoma" panose="020B0604030504040204" pitchFamily="34" charset="0"/>
              <a:cs typeface="Tahoma" panose="020B0604030504040204" pitchFamily="34" charset="0"/>
            </a:endParaRPr>
          </a:p>
          <a:p>
            <a:endParaRPr lang="nl-BE"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7" name="Picture 6">
            <a:extLst>
              <a:ext uri="{FF2B5EF4-FFF2-40B4-BE49-F238E27FC236}">
                <a16:creationId xmlns:a16="http://schemas.microsoft.com/office/drawing/2014/main" id="{18D19A78-98ED-BEF6-8121-45F8E7AD4CA5}"/>
              </a:ext>
            </a:extLst>
          </p:cNvPr>
          <p:cNvPicPr>
            <a:picLocks noChangeAspect="1"/>
          </p:cNvPicPr>
          <p:nvPr/>
        </p:nvPicPr>
        <p:blipFill>
          <a:blip r:embed="rId3"/>
          <a:stretch>
            <a:fillRect/>
          </a:stretch>
        </p:blipFill>
        <p:spPr>
          <a:xfrm>
            <a:off x="4200055" y="1285389"/>
            <a:ext cx="2962564" cy="1875605"/>
          </a:xfrm>
          <a:prstGeom prst="rect">
            <a:avLst/>
          </a:prstGeom>
        </p:spPr>
      </p:pic>
      <p:pic>
        <p:nvPicPr>
          <p:cNvPr id="6" name="Afbeelding 5">
            <a:extLst>
              <a:ext uri="{FF2B5EF4-FFF2-40B4-BE49-F238E27FC236}">
                <a16:creationId xmlns:a16="http://schemas.microsoft.com/office/drawing/2014/main" id="{C7FCC8DD-84B2-2234-59AE-8D3C3CBB7D7A}"/>
              </a:ext>
            </a:extLst>
          </p:cNvPr>
          <p:cNvPicPr>
            <a:picLocks noChangeAspect="1"/>
          </p:cNvPicPr>
          <p:nvPr/>
        </p:nvPicPr>
        <p:blipFill>
          <a:blip r:embed="rId4"/>
          <a:stretch>
            <a:fillRect/>
          </a:stretch>
        </p:blipFill>
        <p:spPr>
          <a:xfrm>
            <a:off x="421357" y="1326468"/>
            <a:ext cx="2843629" cy="1834526"/>
          </a:xfrm>
          <a:prstGeom prst="rect">
            <a:avLst/>
          </a:prstGeom>
        </p:spPr>
      </p:pic>
      <p:pic>
        <p:nvPicPr>
          <p:cNvPr id="9" name="Afbeelding 8">
            <a:extLst>
              <a:ext uri="{FF2B5EF4-FFF2-40B4-BE49-F238E27FC236}">
                <a16:creationId xmlns:a16="http://schemas.microsoft.com/office/drawing/2014/main" id="{8DCE6649-93E6-F4C8-C701-295EDAEE6284}"/>
              </a:ext>
            </a:extLst>
          </p:cNvPr>
          <p:cNvPicPr>
            <a:picLocks noChangeAspect="1"/>
          </p:cNvPicPr>
          <p:nvPr/>
        </p:nvPicPr>
        <p:blipFill>
          <a:blip r:embed="rId5"/>
          <a:stretch>
            <a:fillRect/>
          </a:stretch>
        </p:blipFill>
        <p:spPr>
          <a:xfrm>
            <a:off x="584127" y="3200068"/>
            <a:ext cx="2518088" cy="1943432"/>
          </a:xfrm>
          <a:prstGeom prst="rect">
            <a:avLst/>
          </a:prstGeom>
        </p:spPr>
      </p:pic>
      <p:pic>
        <p:nvPicPr>
          <p:cNvPr id="11" name="Afbeelding 10">
            <a:extLst>
              <a:ext uri="{FF2B5EF4-FFF2-40B4-BE49-F238E27FC236}">
                <a16:creationId xmlns:a16="http://schemas.microsoft.com/office/drawing/2014/main" id="{03CFB4AD-8D9F-362B-704E-038CB584DA53}"/>
              </a:ext>
            </a:extLst>
          </p:cNvPr>
          <p:cNvPicPr>
            <a:picLocks noChangeAspect="1"/>
          </p:cNvPicPr>
          <p:nvPr/>
        </p:nvPicPr>
        <p:blipFill>
          <a:blip r:embed="rId6"/>
          <a:stretch>
            <a:fillRect/>
          </a:stretch>
        </p:blipFill>
        <p:spPr>
          <a:xfrm>
            <a:off x="4351501" y="3146693"/>
            <a:ext cx="2590012" cy="1985478"/>
          </a:xfrm>
          <a:prstGeom prst="rect">
            <a:avLst/>
          </a:prstGeom>
        </p:spPr>
      </p:pic>
      <p:sp>
        <p:nvSpPr>
          <p:cNvPr id="10" name="Arrow: Right 9">
            <a:extLst>
              <a:ext uri="{FF2B5EF4-FFF2-40B4-BE49-F238E27FC236}">
                <a16:creationId xmlns:a16="http://schemas.microsoft.com/office/drawing/2014/main" id="{F680AD23-271B-0DB7-7185-854E7589C37A}"/>
              </a:ext>
            </a:extLst>
          </p:cNvPr>
          <p:cNvSpPr/>
          <p:nvPr/>
        </p:nvSpPr>
        <p:spPr>
          <a:xfrm>
            <a:off x="3486092" y="2891963"/>
            <a:ext cx="614597" cy="509459"/>
          </a:xfrm>
          <a:prstGeom prst="rightArrow">
            <a:avLst/>
          </a:prstGeom>
          <a:solidFill>
            <a:srgbClr val="0A1D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6" name="Straight Connector 15">
            <a:extLst>
              <a:ext uri="{FF2B5EF4-FFF2-40B4-BE49-F238E27FC236}">
                <a16:creationId xmlns:a16="http://schemas.microsoft.com/office/drawing/2014/main" id="{673AFCB5-F1BD-F418-92A3-A56C85E2D667}"/>
              </a:ext>
            </a:extLst>
          </p:cNvPr>
          <p:cNvCxnSpPr>
            <a:cxnSpLocks/>
          </p:cNvCxnSpPr>
          <p:nvPr/>
        </p:nvCxnSpPr>
        <p:spPr>
          <a:xfrm flipV="1">
            <a:off x="1723244" y="1874520"/>
            <a:ext cx="0" cy="1116018"/>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97A839F-FC76-311D-97A6-CE64EA717AC6}"/>
              </a:ext>
            </a:extLst>
          </p:cNvPr>
          <p:cNvSpPr txBox="1"/>
          <p:nvPr/>
        </p:nvSpPr>
        <p:spPr>
          <a:xfrm>
            <a:off x="7261985" y="2513484"/>
            <a:ext cx="1803209" cy="954107"/>
          </a:xfrm>
          <a:prstGeom prst="rect">
            <a:avLst/>
          </a:prstGeom>
          <a:noFill/>
        </p:spPr>
        <p:txBody>
          <a:bodyPr wrap="square" rtlCol="0">
            <a:spAutoFit/>
          </a:bodyPr>
          <a:lstStyle/>
          <a:p>
            <a:pPr algn="ctr"/>
            <a:r>
              <a:rPr lang="en-GB" b="1"/>
              <a:t>Autocorrelation better, but let’s still perform a time-based split</a:t>
            </a:r>
          </a:p>
        </p:txBody>
      </p:sp>
      <p:cxnSp>
        <p:nvCxnSpPr>
          <p:cNvPr id="19" name="Rechte verbindingslijn 6">
            <a:extLst>
              <a:ext uri="{FF2B5EF4-FFF2-40B4-BE49-F238E27FC236}">
                <a16:creationId xmlns:a16="http://schemas.microsoft.com/office/drawing/2014/main" id="{831AC2A5-BB69-F1D1-1300-E1D43AF6C0B6}"/>
              </a:ext>
            </a:extLst>
          </p:cNvPr>
          <p:cNvCxnSpPr>
            <a:cxnSpLocks/>
          </p:cNvCxnSpPr>
          <p:nvPr/>
        </p:nvCxnSpPr>
        <p:spPr>
          <a:xfrm flipV="1">
            <a:off x="6107529" y="1389802"/>
            <a:ext cx="0" cy="1600735"/>
          </a:xfrm>
          <a:prstGeom prst="line">
            <a:avLst/>
          </a:prstGeom>
          <a:ln w="28575">
            <a:prstDash val="sysDash"/>
          </a:ln>
        </p:spPr>
        <p:style>
          <a:lnRef idx="1">
            <a:schemeClr val="dk1"/>
          </a:lnRef>
          <a:fillRef idx="0">
            <a:schemeClr val="dk1"/>
          </a:fillRef>
          <a:effectRef idx="0">
            <a:schemeClr val="dk1"/>
          </a:effectRef>
          <a:fontRef idx="minor">
            <a:schemeClr val="tx1"/>
          </a:fontRef>
        </p:style>
      </p:cxnSp>
      <p:sp>
        <p:nvSpPr>
          <p:cNvPr id="20" name="Tekstvak 8">
            <a:extLst>
              <a:ext uri="{FF2B5EF4-FFF2-40B4-BE49-F238E27FC236}">
                <a16:creationId xmlns:a16="http://schemas.microsoft.com/office/drawing/2014/main" id="{7F683F1B-AE25-351B-6089-8421AA77EA45}"/>
              </a:ext>
            </a:extLst>
          </p:cNvPr>
          <p:cNvSpPr txBox="1"/>
          <p:nvPr/>
        </p:nvSpPr>
        <p:spPr>
          <a:xfrm>
            <a:off x="6299015" y="1448257"/>
            <a:ext cx="863604" cy="461665"/>
          </a:xfrm>
          <a:prstGeom prst="rect">
            <a:avLst/>
          </a:prstGeom>
          <a:noFill/>
        </p:spPr>
        <p:txBody>
          <a:bodyPr wrap="square" rtlCol="0">
            <a:spAutoFit/>
          </a:bodyPr>
          <a:lstStyle/>
          <a:p>
            <a:pPr algn="ctr"/>
            <a:r>
              <a:rPr lang="nl-NL" sz="1200"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rPr>
              <a:t>TEST </a:t>
            </a:r>
          </a:p>
          <a:p>
            <a:pPr algn="ctr"/>
            <a:r>
              <a:rPr lang="nl-NL" sz="1200"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rPr>
              <a:t>(20%)</a:t>
            </a:r>
            <a:endParaRPr lang="nl-BE"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endParaRPr>
          </a:p>
        </p:txBody>
      </p:sp>
      <p:sp>
        <p:nvSpPr>
          <p:cNvPr id="21" name="Tekstvak 9">
            <a:extLst>
              <a:ext uri="{FF2B5EF4-FFF2-40B4-BE49-F238E27FC236}">
                <a16:creationId xmlns:a16="http://schemas.microsoft.com/office/drawing/2014/main" id="{51CF68BD-3903-0F1F-C847-8BB6D310DD38}"/>
              </a:ext>
            </a:extLst>
          </p:cNvPr>
          <p:cNvSpPr txBox="1"/>
          <p:nvPr/>
        </p:nvSpPr>
        <p:spPr>
          <a:xfrm>
            <a:off x="4674827" y="1448257"/>
            <a:ext cx="1276773" cy="461665"/>
          </a:xfrm>
          <a:prstGeom prst="rect">
            <a:avLst/>
          </a:prstGeom>
          <a:noFill/>
        </p:spPr>
        <p:txBody>
          <a:bodyPr wrap="square" rtlCol="0">
            <a:spAutoFit/>
          </a:bodyPr>
          <a:lstStyle/>
          <a:p>
            <a:pPr algn="ctr"/>
            <a:r>
              <a:rPr lang="nl-NL" sz="1200"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rPr>
              <a:t>TRAIN </a:t>
            </a:r>
          </a:p>
          <a:p>
            <a:pPr algn="ctr"/>
            <a:r>
              <a:rPr lang="nl-NL" sz="1200"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rPr>
              <a:t>(80%)</a:t>
            </a:r>
            <a:endParaRPr lang="nl-BE" sz="1200" b="1">
              <a:solidFill>
                <a:schemeClr val="dk1"/>
              </a:solidFill>
              <a:latin typeface="Tahoma" panose="020B0604030504040204" pitchFamily="34" charset="0"/>
              <a:ea typeface="Tahoma" panose="020B0604030504040204" pitchFamily="34" charset="0"/>
              <a:cs typeface="Tahoma" panose="020B0604030504040204" pitchFamily="34" charset="0"/>
              <a:sym typeface="Lexend Deca"/>
            </a:endParaRPr>
          </a:p>
        </p:txBody>
      </p:sp>
      <p:grpSp>
        <p:nvGrpSpPr>
          <p:cNvPr id="30" name="Group 29">
            <a:extLst>
              <a:ext uri="{FF2B5EF4-FFF2-40B4-BE49-F238E27FC236}">
                <a16:creationId xmlns:a16="http://schemas.microsoft.com/office/drawing/2014/main" id="{26B03BF3-39E8-4D77-425F-A1E3348616BC}"/>
              </a:ext>
            </a:extLst>
          </p:cNvPr>
          <p:cNvGrpSpPr/>
          <p:nvPr/>
        </p:nvGrpSpPr>
        <p:grpSpPr>
          <a:xfrm>
            <a:off x="-12465693" y="-3894447"/>
            <a:ext cx="10658221" cy="6326976"/>
            <a:chOff x="-1798089" y="83094"/>
            <a:chExt cx="10658221" cy="6326976"/>
          </a:xfrm>
        </p:grpSpPr>
        <p:grpSp>
          <p:nvGrpSpPr>
            <p:cNvPr id="31" name="Groep 19">
              <a:extLst>
                <a:ext uri="{FF2B5EF4-FFF2-40B4-BE49-F238E27FC236}">
                  <a16:creationId xmlns:a16="http://schemas.microsoft.com/office/drawing/2014/main" id="{A6D8D55F-22DD-860A-A086-E1BC194CEF9C}"/>
                </a:ext>
              </a:extLst>
            </p:cNvPr>
            <p:cNvGrpSpPr/>
            <p:nvPr/>
          </p:nvGrpSpPr>
          <p:grpSpPr>
            <a:xfrm>
              <a:off x="-1798089" y="83094"/>
              <a:ext cx="10658221" cy="6326976"/>
              <a:chOff x="-1654323" y="159866"/>
              <a:chExt cx="10658221" cy="6326976"/>
            </a:xfrm>
          </p:grpSpPr>
          <p:pic>
            <p:nvPicPr>
              <p:cNvPr id="39" name="Picture 2" descr="Left side view of a flying Airplane. 24925745 Vector Art at Vecteezy">
                <a:extLst>
                  <a:ext uri="{FF2B5EF4-FFF2-40B4-BE49-F238E27FC236}">
                    <a16:creationId xmlns:a16="http://schemas.microsoft.com/office/drawing/2014/main" id="{817A5BB5-1EC6-9C7F-96C7-7CDA490E56D3}"/>
                  </a:ext>
                </a:extLst>
              </p:cNvPr>
              <p:cNvPicPr>
                <a:picLocks noChangeAspect="1" noChangeArrowheads="1"/>
              </p:cNvPicPr>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backgroundRemoval t="4184" b="96837" l="1030" r="96911">
                            <a14:foregroundMark x1="7692" y1="39694" x2="12477" y2="54286"/>
                            <a14:foregroundMark x1="12477" y1="54286" x2="19867" y2="64898"/>
                            <a14:foregroundMark x1="19867" y1="64898" x2="75893" y2="29184"/>
                            <a14:foregroundMark x1="42156" y1="22041" x2="72744" y2="30306"/>
                            <a14:foregroundMark x1="72925" y1="17347" x2="80800" y2="8469"/>
                            <a14:foregroundMark x1="80800" y1="8469" x2="89582" y2="3061"/>
                            <a14:foregroundMark x1="89582" y1="3061" x2="90975" y2="10816"/>
                            <a14:foregroundMark x1="90975" y1="10816" x2="77226" y2="25816"/>
                            <a14:foregroundMark x1="30709" y1="54388" x2="40339" y2="42755"/>
                            <a14:foregroundMark x1="40339" y1="42755" x2="62084" y2="25204"/>
                            <a14:foregroundMark x1="61236" y1="41939" x2="52453" y2="66735"/>
                            <a14:foregroundMark x1="52453" y1="66735" x2="45245" y2="78980"/>
                            <a14:foregroundMark x1="18050" y1="66122" x2="10721" y2="72755"/>
                            <a14:foregroundMark x1="19746" y1="69388" x2="7935" y2="78367"/>
                            <a14:foregroundMark x1="7935" y1="78367" x2="5875" y2="78878"/>
                            <a14:foregroundMark x1="41429" y1="87551" x2="38038" y2="95000"/>
                            <a14:foregroundMark x1="38038" y1="95000" x2="38704" y2="96837"/>
                            <a14:foregroundMark x1="82374" y1="6531" x2="90309" y2="3163"/>
                            <a14:foregroundMark x1="90309" y1="3163" x2="95215" y2="4184"/>
                            <a14:foregroundMark x1="95215" y1="4184" x2="87826" y2="19082"/>
                            <a14:foregroundMark x1="87826" y1="19082" x2="78013" y2="20408"/>
                            <a14:foregroundMark x1="86796" y1="11531" x2="93580" y2="7653"/>
                            <a14:foregroundMark x1="93580" y1="7653" x2="90369" y2="15204"/>
                            <a14:foregroundMark x1="92974" y1="14082" x2="96911" y2="8776"/>
                            <a14:foregroundMark x1="96911" y1="8776" x2="96850" y2="8469"/>
                            <a14:foregroundMark x1="2665" y1="80714" x2="1030" y2="81224"/>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rot="1657104">
                <a:off x="-1654323" y="159866"/>
                <a:ext cx="10658221" cy="6326976"/>
              </a:xfrm>
              <a:prstGeom prst="rect">
                <a:avLst/>
              </a:prstGeom>
              <a:noFill/>
              <a:extLst>
                <a:ext uri="{909E8E84-426E-40DD-AFC4-6F175D3DCCD1}">
                  <a14:hiddenFill xmlns:a14="http://schemas.microsoft.com/office/drawing/2010/main">
                    <a:solidFill>
                      <a:srgbClr val="FFFFFF"/>
                    </a:solidFill>
                  </a14:hiddenFill>
                </a:ext>
              </a:extLst>
            </p:spPr>
          </p:pic>
          <p:sp>
            <p:nvSpPr>
              <p:cNvPr id="40" name="Rechthoek 18">
                <a:extLst>
                  <a:ext uri="{FF2B5EF4-FFF2-40B4-BE49-F238E27FC236}">
                    <a16:creationId xmlns:a16="http://schemas.microsoft.com/office/drawing/2014/main" id="{E7CCAD85-32E1-50E0-2E0C-497EB46F9D2C}"/>
                  </a:ext>
                </a:extLst>
              </p:cNvPr>
              <p:cNvSpPr/>
              <p:nvPr/>
            </p:nvSpPr>
            <p:spPr>
              <a:xfrm>
                <a:off x="1537547" y="2411307"/>
                <a:ext cx="6312746" cy="1002453"/>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latin typeface="Tahoma" panose="020B0604030504040204" pitchFamily="34" charset="0"/>
                  <a:ea typeface="Tahoma" panose="020B0604030504040204" pitchFamily="34" charset="0"/>
                  <a:cs typeface="Tahoma" panose="020B0604030504040204" pitchFamily="34" charset="0"/>
                </a:endParaRPr>
              </a:p>
            </p:txBody>
          </p:sp>
        </p:grpSp>
        <p:graphicFrame>
          <p:nvGraphicFramePr>
            <p:cNvPr id="32" name="Diagram 31">
              <a:extLst>
                <a:ext uri="{FF2B5EF4-FFF2-40B4-BE49-F238E27FC236}">
                  <a16:creationId xmlns:a16="http://schemas.microsoft.com/office/drawing/2014/main" id="{8718414D-D030-1515-7601-026CD3008E58}"/>
                </a:ext>
              </a:extLst>
            </p:cNvPr>
            <p:cNvGraphicFramePr/>
            <p:nvPr>
              <p:extLst>
                <p:ext uri="{D42A27DB-BD31-4B8C-83A1-F6EECF244321}">
                  <p14:modId xmlns:p14="http://schemas.microsoft.com/office/powerpoint/2010/main" val="1217937982"/>
                </p:ext>
              </p:extLst>
            </p:nvPr>
          </p:nvGraphicFramePr>
          <p:xfrm>
            <a:off x="497326" y="1772737"/>
            <a:ext cx="7704000" cy="175429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3" name="Tekstvak 8">
              <a:extLst>
                <a:ext uri="{FF2B5EF4-FFF2-40B4-BE49-F238E27FC236}">
                  <a16:creationId xmlns:a16="http://schemas.microsoft.com/office/drawing/2014/main" id="{C1E9996A-0381-8F9C-2FE3-15B041D6B755}"/>
                </a:ext>
              </a:extLst>
            </p:cNvPr>
            <p:cNvSpPr txBox="1"/>
            <p:nvPr/>
          </p:nvSpPr>
          <p:spPr>
            <a:xfrm>
              <a:off x="6267478" y="2841855"/>
              <a:ext cx="748453" cy="430887"/>
            </a:xfrm>
            <a:prstGeom prst="rect">
              <a:avLst/>
            </a:prstGeom>
            <a:noFill/>
          </p:spPr>
          <p:txBody>
            <a:bodyPr wrap="square" rtlCol="0">
              <a:spAutoFit/>
            </a:bodyPr>
            <a:lstStyle/>
            <a:p>
              <a:pPr algn="ct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AL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4" name="Tekstvak 9">
              <a:extLst>
                <a:ext uri="{FF2B5EF4-FFF2-40B4-BE49-F238E27FC236}">
                  <a16:creationId xmlns:a16="http://schemas.microsoft.com/office/drawing/2014/main" id="{5AE58212-D8E6-CDB4-A4D9-75A59ADAC1E8}"/>
                </a:ext>
              </a:extLst>
            </p:cNvPr>
            <p:cNvSpPr txBox="1"/>
            <p:nvPr/>
          </p:nvSpPr>
          <p:spPr>
            <a:xfrm>
              <a:off x="7069499" y="2875323"/>
              <a:ext cx="1361440" cy="553998"/>
            </a:xfrm>
            <a:prstGeom prst="rect">
              <a:avLst/>
            </a:prstGeom>
            <a:noFill/>
          </p:spPr>
          <p:txBody>
            <a:bodyPr wrap="square" rtlCol="0">
              <a:spAutoFit/>
            </a:bodyPr>
            <a:lstStyle/>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Linear</a:t>
              </a: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 Baseline</a:t>
              </a: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Decision</a:t>
              </a: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 Tree</a:t>
              </a:r>
            </a:p>
            <a:p>
              <a:pPr algn="ct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Random Forest</a:t>
              </a: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XGBoost</a:t>
              </a:r>
              <a:endPar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AutoGluon</a:t>
              </a:r>
              <a:endParaRPr lang="nl-BE" sz="6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5" name="Tekstvak 14">
              <a:extLst>
                <a:ext uri="{FF2B5EF4-FFF2-40B4-BE49-F238E27FC236}">
                  <a16:creationId xmlns:a16="http://schemas.microsoft.com/office/drawing/2014/main" id="{DFA9189A-EC9B-7EC3-4319-5B71AFC05C3E}"/>
                </a:ext>
              </a:extLst>
            </p:cNvPr>
            <p:cNvSpPr txBox="1"/>
            <p:nvPr/>
          </p:nvSpPr>
          <p:spPr>
            <a:xfrm>
              <a:off x="5092985" y="2853188"/>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Nume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6" name="Tekstvak 15">
              <a:extLst>
                <a:ext uri="{FF2B5EF4-FFF2-40B4-BE49-F238E27FC236}">
                  <a16:creationId xmlns:a16="http://schemas.microsoft.com/office/drawing/2014/main" id="{4223B6D7-26F3-2036-247E-8851694127BD}"/>
                </a:ext>
              </a:extLst>
            </p:cNvPr>
            <p:cNvSpPr txBox="1"/>
            <p:nvPr/>
          </p:nvSpPr>
          <p:spPr>
            <a:xfrm>
              <a:off x="3938250" y="2854200"/>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Nume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7" name="Tekstvak 16">
              <a:extLst>
                <a:ext uri="{FF2B5EF4-FFF2-40B4-BE49-F238E27FC236}">
                  <a16:creationId xmlns:a16="http://schemas.microsoft.com/office/drawing/2014/main" id="{38EDD219-6707-793E-F713-852A6619F660}"/>
                </a:ext>
              </a:extLst>
            </p:cNvPr>
            <p:cNvSpPr txBox="1"/>
            <p:nvPr/>
          </p:nvSpPr>
          <p:spPr>
            <a:xfrm>
              <a:off x="2773206" y="2883513"/>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Catego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38" name="Tekstvak 17">
              <a:extLst>
                <a:ext uri="{FF2B5EF4-FFF2-40B4-BE49-F238E27FC236}">
                  <a16:creationId xmlns:a16="http://schemas.microsoft.com/office/drawing/2014/main" id="{0EB31B6A-E1A7-6F8E-497C-F1C10649937B}"/>
                </a:ext>
              </a:extLst>
            </p:cNvPr>
            <p:cNvSpPr txBox="1"/>
            <p:nvPr/>
          </p:nvSpPr>
          <p:spPr>
            <a:xfrm>
              <a:off x="1618471" y="2853188"/>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Textu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252541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C640A-26EE-778F-6D8C-5F7AE12494CA}"/>
              </a:ext>
            </a:extLst>
          </p:cNvPr>
          <p:cNvSpPr>
            <a:spLocks noGrp="1"/>
          </p:cNvSpPr>
          <p:nvPr>
            <p:ph type="title"/>
          </p:nvPr>
        </p:nvSpPr>
        <p:spPr>
          <a:xfrm>
            <a:off x="540063" y="1194586"/>
            <a:ext cx="7704000" cy="572700"/>
          </a:xfrm>
        </p:spPr>
        <p:txBody>
          <a:bodyPr/>
          <a:lstStyle/>
          <a:p>
            <a:pPr algn="r"/>
            <a:r>
              <a:rPr lang="nl-NL">
                <a:latin typeface="Bebas Neue" panose="020B0606020202050201" pitchFamily="34" charset="0"/>
                <a:ea typeface="Tahoma" panose="020B0604030504040204" pitchFamily="34" charset="0"/>
                <a:cs typeface="Tahoma" panose="020B0604030504040204" pitchFamily="34" charset="0"/>
              </a:rPr>
              <a:t>Pipeline setup</a:t>
            </a:r>
            <a:endParaRPr lang="nl-BE">
              <a:latin typeface="Bebas Neue" panose="020B0606020202050201" pitchFamily="34" charset="0"/>
              <a:ea typeface="Tahoma" panose="020B0604030504040204" pitchFamily="34" charset="0"/>
              <a:cs typeface="Tahoma" panose="020B0604030504040204" pitchFamily="34" charset="0"/>
            </a:endParaRPr>
          </a:p>
        </p:txBody>
      </p:sp>
      <p:grpSp>
        <p:nvGrpSpPr>
          <p:cNvPr id="3" name="Group 2">
            <a:extLst>
              <a:ext uri="{FF2B5EF4-FFF2-40B4-BE49-F238E27FC236}">
                <a16:creationId xmlns:a16="http://schemas.microsoft.com/office/drawing/2014/main" id="{2715AD98-147B-F3E0-AAE9-613C39CE4ADA}"/>
              </a:ext>
            </a:extLst>
          </p:cNvPr>
          <p:cNvGrpSpPr/>
          <p:nvPr/>
        </p:nvGrpSpPr>
        <p:grpSpPr>
          <a:xfrm>
            <a:off x="-1798089" y="83094"/>
            <a:ext cx="10658221" cy="6326976"/>
            <a:chOff x="-1798089" y="83094"/>
            <a:chExt cx="10658221" cy="6326976"/>
          </a:xfrm>
        </p:grpSpPr>
        <p:grpSp>
          <p:nvGrpSpPr>
            <p:cNvPr id="20" name="Groep 19">
              <a:extLst>
                <a:ext uri="{FF2B5EF4-FFF2-40B4-BE49-F238E27FC236}">
                  <a16:creationId xmlns:a16="http://schemas.microsoft.com/office/drawing/2014/main" id="{9EBCDC91-4CE6-6886-F646-0885AF0208B8}"/>
                </a:ext>
              </a:extLst>
            </p:cNvPr>
            <p:cNvGrpSpPr/>
            <p:nvPr/>
          </p:nvGrpSpPr>
          <p:grpSpPr>
            <a:xfrm>
              <a:off x="-1798089" y="83094"/>
              <a:ext cx="10658221" cy="6326976"/>
              <a:chOff x="-1654323" y="159866"/>
              <a:chExt cx="10658221" cy="6326976"/>
            </a:xfrm>
          </p:grpSpPr>
          <p:pic>
            <p:nvPicPr>
              <p:cNvPr id="1026" name="Picture 2" descr="Left side view of a flying Airplane. 24925745 Vector Art at Vecteezy">
                <a:extLst>
                  <a:ext uri="{FF2B5EF4-FFF2-40B4-BE49-F238E27FC236}">
                    <a16:creationId xmlns:a16="http://schemas.microsoft.com/office/drawing/2014/main" id="{EFA39707-4FCD-63A0-DCA6-0728F0AA6C99}"/>
                  </a:ext>
                </a:extLst>
              </p:cNvPr>
              <p:cNvPicPr>
                <a:picLocks noChangeAspect="1" noChangeArrowheads="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backgroundRemoval t="4184" b="96837" l="1030" r="96911">
                            <a14:foregroundMark x1="7692" y1="39694" x2="12477" y2="54286"/>
                            <a14:foregroundMark x1="12477" y1="54286" x2="19867" y2="64898"/>
                            <a14:foregroundMark x1="19867" y1="64898" x2="75893" y2="29184"/>
                            <a14:foregroundMark x1="42156" y1="22041" x2="72744" y2="30306"/>
                            <a14:foregroundMark x1="72925" y1="17347" x2="80800" y2="8469"/>
                            <a14:foregroundMark x1="80800" y1="8469" x2="89582" y2="3061"/>
                            <a14:foregroundMark x1="89582" y1="3061" x2="90975" y2="10816"/>
                            <a14:foregroundMark x1="90975" y1="10816" x2="77226" y2="25816"/>
                            <a14:foregroundMark x1="30709" y1="54388" x2="40339" y2="42755"/>
                            <a14:foregroundMark x1="40339" y1="42755" x2="62084" y2="25204"/>
                            <a14:foregroundMark x1="61236" y1="41939" x2="52453" y2="66735"/>
                            <a14:foregroundMark x1="52453" y1="66735" x2="45245" y2="78980"/>
                            <a14:foregroundMark x1="18050" y1="66122" x2="10721" y2="72755"/>
                            <a14:foregroundMark x1="19746" y1="69388" x2="7935" y2="78367"/>
                            <a14:foregroundMark x1="7935" y1="78367" x2="5875" y2="78878"/>
                            <a14:foregroundMark x1="41429" y1="87551" x2="38038" y2="95000"/>
                            <a14:foregroundMark x1="38038" y1="95000" x2="38704" y2="96837"/>
                            <a14:foregroundMark x1="82374" y1="6531" x2="90309" y2="3163"/>
                            <a14:foregroundMark x1="90309" y1="3163" x2="95215" y2="4184"/>
                            <a14:foregroundMark x1="95215" y1="4184" x2="87826" y2="19082"/>
                            <a14:foregroundMark x1="87826" y1="19082" x2="78013" y2="20408"/>
                            <a14:foregroundMark x1="86796" y1="11531" x2="93580" y2="7653"/>
                            <a14:foregroundMark x1="93580" y1="7653" x2="90369" y2="15204"/>
                            <a14:foregroundMark x1="92974" y1="14082" x2="96911" y2="8776"/>
                            <a14:foregroundMark x1="96911" y1="8776" x2="96850" y2="8469"/>
                            <a14:foregroundMark x1="2665" y1="80714" x2="1030" y2="81224"/>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rot="1657104">
                <a:off x="-1654323" y="159866"/>
                <a:ext cx="10658221" cy="6326976"/>
              </a:xfrm>
              <a:prstGeom prst="rect">
                <a:avLst/>
              </a:prstGeom>
              <a:noFill/>
              <a:extLst>
                <a:ext uri="{909E8E84-426E-40DD-AFC4-6F175D3DCCD1}">
                  <a14:hiddenFill xmlns:a14="http://schemas.microsoft.com/office/drawing/2010/main">
                    <a:solidFill>
                      <a:srgbClr val="FFFFFF"/>
                    </a:solidFill>
                  </a14:hiddenFill>
                </a:ext>
              </a:extLst>
            </p:spPr>
          </p:pic>
          <p:sp>
            <p:nvSpPr>
              <p:cNvPr id="19" name="Rechthoek 18">
                <a:extLst>
                  <a:ext uri="{FF2B5EF4-FFF2-40B4-BE49-F238E27FC236}">
                    <a16:creationId xmlns:a16="http://schemas.microsoft.com/office/drawing/2014/main" id="{37DCF1D8-6921-2196-B327-03E7FBA18938}"/>
                  </a:ext>
                </a:extLst>
              </p:cNvPr>
              <p:cNvSpPr/>
              <p:nvPr/>
            </p:nvSpPr>
            <p:spPr>
              <a:xfrm>
                <a:off x="1537547" y="2411307"/>
                <a:ext cx="6312746" cy="1002453"/>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latin typeface="Tahoma" panose="020B0604030504040204" pitchFamily="34" charset="0"/>
                  <a:ea typeface="Tahoma" panose="020B0604030504040204" pitchFamily="34" charset="0"/>
                  <a:cs typeface="Tahoma" panose="020B0604030504040204" pitchFamily="34" charset="0"/>
                </a:endParaRPr>
              </a:p>
            </p:txBody>
          </p:sp>
        </p:grpSp>
        <p:graphicFrame>
          <p:nvGraphicFramePr>
            <p:cNvPr id="4" name="Diagram 3">
              <a:extLst>
                <a:ext uri="{FF2B5EF4-FFF2-40B4-BE49-F238E27FC236}">
                  <a16:creationId xmlns:a16="http://schemas.microsoft.com/office/drawing/2014/main" id="{1AD4798F-953E-9E50-C743-396575D0292A}"/>
                </a:ext>
              </a:extLst>
            </p:cNvPr>
            <p:cNvGraphicFramePr/>
            <p:nvPr>
              <p:extLst>
                <p:ext uri="{D42A27DB-BD31-4B8C-83A1-F6EECF244321}">
                  <p14:modId xmlns:p14="http://schemas.microsoft.com/office/powerpoint/2010/main" val="3450303838"/>
                </p:ext>
              </p:extLst>
            </p:nvPr>
          </p:nvGraphicFramePr>
          <p:xfrm>
            <a:off x="497326" y="1772737"/>
            <a:ext cx="7704000" cy="17542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kstvak 8">
              <a:extLst>
                <a:ext uri="{FF2B5EF4-FFF2-40B4-BE49-F238E27FC236}">
                  <a16:creationId xmlns:a16="http://schemas.microsoft.com/office/drawing/2014/main" id="{C9E892D9-517C-F5EF-08F3-1EEA2CACF8E1}"/>
                </a:ext>
              </a:extLst>
            </p:cNvPr>
            <p:cNvSpPr txBox="1"/>
            <p:nvPr/>
          </p:nvSpPr>
          <p:spPr>
            <a:xfrm>
              <a:off x="6267478" y="2841855"/>
              <a:ext cx="748453" cy="430887"/>
            </a:xfrm>
            <a:prstGeom prst="rect">
              <a:avLst/>
            </a:prstGeom>
            <a:noFill/>
          </p:spPr>
          <p:txBody>
            <a:bodyPr wrap="square" rtlCol="0">
              <a:spAutoFit/>
            </a:bodyPr>
            <a:lstStyle/>
            <a:p>
              <a:pPr algn="ct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AL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10" name="Tekstvak 9">
              <a:extLst>
                <a:ext uri="{FF2B5EF4-FFF2-40B4-BE49-F238E27FC236}">
                  <a16:creationId xmlns:a16="http://schemas.microsoft.com/office/drawing/2014/main" id="{D5A35447-D67A-3B9A-C4BF-6CE01325C275}"/>
                </a:ext>
              </a:extLst>
            </p:cNvPr>
            <p:cNvSpPr txBox="1"/>
            <p:nvPr/>
          </p:nvSpPr>
          <p:spPr>
            <a:xfrm>
              <a:off x="7069499" y="2875323"/>
              <a:ext cx="1361440" cy="553998"/>
            </a:xfrm>
            <a:prstGeom prst="rect">
              <a:avLst/>
            </a:prstGeom>
            <a:noFill/>
          </p:spPr>
          <p:txBody>
            <a:bodyPr wrap="square" rtlCol="0">
              <a:spAutoFit/>
            </a:bodyPr>
            <a:lstStyle/>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Linear</a:t>
              </a: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 Baseline</a:t>
              </a: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Decision</a:t>
              </a: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 Tree</a:t>
              </a:r>
            </a:p>
            <a:p>
              <a:pPr algn="ctr"/>
              <a:r>
                <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rPr>
                <a:t>Random Forest</a:t>
              </a: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XGBoost</a:t>
              </a:r>
              <a:endParaRPr lang="nl-NL" sz="6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a:p>
              <a:pPr algn="ctr"/>
              <a:r>
                <a:rPr lang="nl-NL" sz="600" b="1" kern="1200" err="1">
                  <a:solidFill>
                    <a:srgbClr val="0A1D3D"/>
                  </a:solidFill>
                  <a:latin typeface="Tahoma" panose="020B0604030504040204" pitchFamily="34" charset="0"/>
                  <a:ea typeface="Tahoma" panose="020B0604030504040204" pitchFamily="34" charset="0"/>
                  <a:cs typeface="Tahoma" panose="020B0604030504040204" pitchFamily="34" charset="0"/>
                </a:rPr>
                <a:t>AutoGluon</a:t>
              </a:r>
              <a:endParaRPr lang="nl-BE" sz="6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15" name="Tekstvak 14">
              <a:extLst>
                <a:ext uri="{FF2B5EF4-FFF2-40B4-BE49-F238E27FC236}">
                  <a16:creationId xmlns:a16="http://schemas.microsoft.com/office/drawing/2014/main" id="{3B7C4B1E-3114-A3E3-D47D-4BB4DCA2FA1B}"/>
                </a:ext>
              </a:extLst>
            </p:cNvPr>
            <p:cNvSpPr txBox="1"/>
            <p:nvPr/>
          </p:nvSpPr>
          <p:spPr>
            <a:xfrm>
              <a:off x="5092985" y="2853188"/>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Nume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16" name="Tekstvak 15">
              <a:extLst>
                <a:ext uri="{FF2B5EF4-FFF2-40B4-BE49-F238E27FC236}">
                  <a16:creationId xmlns:a16="http://schemas.microsoft.com/office/drawing/2014/main" id="{0714E109-96B6-8820-6E5D-7ACE04F611E3}"/>
                </a:ext>
              </a:extLst>
            </p:cNvPr>
            <p:cNvSpPr txBox="1"/>
            <p:nvPr/>
          </p:nvSpPr>
          <p:spPr>
            <a:xfrm>
              <a:off x="3938250" y="2854200"/>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Nume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17" name="Tekstvak 16">
              <a:extLst>
                <a:ext uri="{FF2B5EF4-FFF2-40B4-BE49-F238E27FC236}">
                  <a16:creationId xmlns:a16="http://schemas.microsoft.com/office/drawing/2014/main" id="{D982B079-459B-712F-7DED-73486E2C4A78}"/>
                </a:ext>
              </a:extLst>
            </p:cNvPr>
            <p:cNvSpPr txBox="1"/>
            <p:nvPr/>
          </p:nvSpPr>
          <p:spPr>
            <a:xfrm>
              <a:off x="2773206" y="2883513"/>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Categoric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18" name="Tekstvak 17">
              <a:extLst>
                <a:ext uri="{FF2B5EF4-FFF2-40B4-BE49-F238E27FC236}">
                  <a16:creationId xmlns:a16="http://schemas.microsoft.com/office/drawing/2014/main" id="{D200FF78-AFC9-249C-0F13-FB39CFE99662}"/>
                </a:ext>
              </a:extLst>
            </p:cNvPr>
            <p:cNvSpPr txBox="1"/>
            <p:nvPr/>
          </p:nvSpPr>
          <p:spPr>
            <a:xfrm>
              <a:off x="1618471" y="2853188"/>
              <a:ext cx="907626" cy="430887"/>
            </a:xfrm>
            <a:prstGeom prst="rect">
              <a:avLst/>
            </a:prstGeom>
            <a:noFill/>
          </p:spPr>
          <p:txBody>
            <a:bodyPr wrap="square" rtlCol="0">
              <a:spAutoFit/>
            </a:bodyPr>
            <a:lstStyle/>
            <a:p>
              <a:pPr algn="ctr"/>
              <a:r>
                <a:rPr lang="nl-NL" sz="800" b="1" kern="1200" err="1">
                  <a:solidFill>
                    <a:srgbClr val="0A1D3D"/>
                  </a:solidFill>
                  <a:latin typeface="Tahoma" panose="020B0604030504040204" pitchFamily="34" charset="0"/>
                  <a:ea typeface="Tahoma" panose="020B0604030504040204" pitchFamily="34" charset="0"/>
                  <a:cs typeface="Tahoma" panose="020B0604030504040204" pitchFamily="34" charset="0"/>
                </a:rPr>
                <a:t>Textual</a:t>
              </a:r>
              <a:r>
                <a:rPr lang="nl-NL" b="1">
                  <a:latin typeface="Tahoma" panose="020B0604030504040204" pitchFamily="34" charset="0"/>
                  <a:ea typeface="Tahoma" panose="020B0604030504040204" pitchFamily="34" charset="0"/>
                  <a:cs typeface="Tahoma" panose="020B0604030504040204" pitchFamily="34" charset="0"/>
                </a:rPr>
                <a:t> </a:t>
              </a:r>
              <a:r>
                <a:rPr lang="nl-NL" sz="800" b="1" kern="1200">
                  <a:solidFill>
                    <a:srgbClr val="0A1D3D"/>
                  </a:solidFill>
                  <a:latin typeface="Tahoma" panose="020B0604030504040204" pitchFamily="34" charset="0"/>
                  <a:ea typeface="Tahoma" panose="020B0604030504040204" pitchFamily="34" charset="0"/>
                  <a:cs typeface="Tahoma" panose="020B0604030504040204" pitchFamily="34" charset="0"/>
                </a:rPr>
                <a:t>features</a:t>
              </a:r>
              <a:endParaRPr lang="nl-BE" sz="800" b="1" kern="12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7889235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F1CC72-7A8C-E903-8F5A-B0F2E5CF034A}"/>
              </a:ext>
            </a:extLst>
          </p:cNvPr>
          <p:cNvSpPr>
            <a:spLocks noGrp="1"/>
          </p:cNvSpPr>
          <p:nvPr>
            <p:ph type="title"/>
          </p:nvPr>
        </p:nvSpPr>
        <p:spPr/>
        <p:txBody>
          <a:bodyPr/>
          <a:lstStyle/>
          <a:p>
            <a:r>
              <a:rPr lang="nl-NL" err="1"/>
              <a:t>HYPErparameter</a:t>
            </a:r>
            <a:r>
              <a:rPr lang="nl-NL"/>
              <a:t> </a:t>
            </a:r>
            <a:r>
              <a:rPr lang="nl-NL" err="1"/>
              <a:t>tuning</a:t>
            </a:r>
            <a:endParaRPr lang="nl-BE"/>
          </a:p>
        </p:txBody>
      </p:sp>
      <p:sp>
        <p:nvSpPr>
          <p:cNvPr id="4" name="TextBox 3">
            <a:extLst>
              <a:ext uri="{FF2B5EF4-FFF2-40B4-BE49-F238E27FC236}">
                <a16:creationId xmlns:a16="http://schemas.microsoft.com/office/drawing/2014/main" id="{D665147A-02A9-2C70-58FF-A721F537773F}"/>
              </a:ext>
            </a:extLst>
          </p:cNvPr>
          <p:cNvSpPr txBox="1"/>
          <p:nvPr/>
        </p:nvSpPr>
        <p:spPr>
          <a:xfrm>
            <a:off x="295423" y="1569226"/>
            <a:ext cx="1983545" cy="307777"/>
          </a:xfrm>
          <a:prstGeom prst="rect">
            <a:avLst/>
          </a:prstGeom>
          <a:noFill/>
        </p:spPr>
        <p:txBody>
          <a:bodyPr wrap="square" rtlCol="0">
            <a:spAutoFit/>
          </a:bodyPr>
          <a:lstStyle/>
          <a:p>
            <a:pPr algn="ctr"/>
            <a:r>
              <a:rPr lang="en-GB" b="1" dirty="0">
                <a:solidFill>
                  <a:srgbClr val="242F58"/>
                </a:solidFill>
                <a:latin typeface="Tahoma" panose="020B0604030504040204" pitchFamily="34" charset="0"/>
                <a:ea typeface="Tahoma" panose="020B0604030504040204" pitchFamily="34" charset="0"/>
                <a:cs typeface="Tahoma" panose="020B0604030504040204" pitchFamily="34" charset="0"/>
              </a:rPr>
              <a:t>Linear Regression</a:t>
            </a:r>
          </a:p>
        </p:txBody>
      </p:sp>
      <p:sp>
        <p:nvSpPr>
          <p:cNvPr id="5" name="TextBox 4">
            <a:extLst>
              <a:ext uri="{FF2B5EF4-FFF2-40B4-BE49-F238E27FC236}">
                <a16:creationId xmlns:a16="http://schemas.microsoft.com/office/drawing/2014/main" id="{83765778-0B6F-6BEE-C0D1-4A543F59A1EB}"/>
              </a:ext>
            </a:extLst>
          </p:cNvPr>
          <p:cNvSpPr txBox="1"/>
          <p:nvPr/>
        </p:nvSpPr>
        <p:spPr>
          <a:xfrm>
            <a:off x="0" y="1877003"/>
            <a:ext cx="2574389" cy="923330"/>
          </a:xfrm>
          <a:prstGeom prst="rect">
            <a:avLst/>
          </a:prstGeom>
          <a:noFill/>
        </p:spPr>
        <p:txBody>
          <a:bodyPr wrap="square" rtlCol="0">
            <a:spAutoFit/>
          </a:bodyPr>
          <a:lstStyle/>
          <a:p>
            <a:pPr algn="ctr">
              <a:spcAft>
                <a:spcPts val="300"/>
              </a:spcAft>
            </a:pPr>
            <a:r>
              <a:rPr lang="en-GB" sz="1100" b="1" dirty="0" err="1">
                <a:solidFill>
                  <a:srgbClr val="242F58"/>
                </a:solidFill>
                <a:latin typeface="Tahoma" panose="020B0604030504040204" pitchFamily="34" charset="0"/>
                <a:ea typeface="Tahoma" panose="020B0604030504040204" pitchFamily="34" charset="0"/>
                <a:cs typeface="Tahoma" panose="020B0604030504040204" pitchFamily="34" charset="0"/>
              </a:rPr>
              <a:t>Regparam</a:t>
            </a:r>
            <a:endPar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0,0.1,0.05,</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0.01</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0.005,0.001]</a:t>
            </a:r>
          </a:p>
          <a:p>
            <a:pPr algn="ctr">
              <a:spcBef>
                <a:spcPts val="600"/>
              </a:spcBef>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ElasticNet</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0</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 0.5, 1]</a:t>
            </a:r>
          </a:p>
        </p:txBody>
      </p:sp>
      <p:sp>
        <p:nvSpPr>
          <p:cNvPr id="8" name="TextBox 7">
            <a:extLst>
              <a:ext uri="{FF2B5EF4-FFF2-40B4-BE49-F238E27FC236}">
                <a16:creationId xmlns:a16="http://schemas.microsoft.com/office/drawing/2014/main" id="{9FF1C0C6-8CBD-45D6-03ED-762BC04B0666}"/>
              </a:ext>
            </a:extLst>
          </p:cNvPr>
          <p:cNvSpPr txBox="1"/>
          <p:nvPr/>
        </p:nvSpPr>
        <p:spPr>
          <a:xfrm>
            <a:off x="2377442" y="1569226"/>
            <a:ext cx="1983545" cy="307777"/>
          </a:xfrm>
          <a:prstGeom prst="rect">
            <a:avLst/>
          </a:prstGeom>
          <a:noFill/>
        </p:spPr>
        <p:txBody>
          <a:bodyPr wrap="square" rtlCol="0">
            <a:spAutoFit/>
          </a:bodyPr>
          <a:lstStyle/>
          <a:p>
            <a:pPr algn="ctr"/>
            <a:r>
              <a:rPr lang="en-GB" b="1" dirty="0">
                <a:solidFill>
                  <a:srgbClr val="242F58"/>
                </a:solidFill>
                <a:latin typeface="Tahoma" panose="020B0604030504040204" pitchFamily="34" charset="0"/>
                <a:ea typeface="Tahoma" panose="020B0604030504040204" pitchFamily="34" charset="0"/>
                <a:cs typeface="Tahoma" panose="020B0604030504040204" pitchFamily="34" charset="0"/>
              </a:rPr>
              <a:t>Decision Tree</a:t>
            </a:r>
          </a:p>
        </p:txBody>
      </p:sp>
      <p:sp>
        <p:nvSpPr>
          <p:cNvPr id="9" name="TextBox 8">
            <a:extLst>
              <a:ext uri="{FF2B5EF4-FFF2-40B4-BE49-F238E27FC236}">
                <a16:creationId xmlns:a16="http://schemas.microsoft.com/office/drawing/2014/main" id="{F14AF7C9-B2C1-7CA7-5718-3BDB94694BEA}"/>
              </a:ext>
            </a:extLst>
          </p:cNvPr>
          <p:cNvSpPr txBox="1"/>
          <p:nvPr/>
        </p:nvSpPr>
        <p:spPr>
          <a:xfrm>
            <a:off x="2088320" y="1877003"/>
            <a:ext cx="2574389" cy="1831271"/>
          </a:xfrm>
          <a:prstGeom prst="rect">
            <a:avLst/>
          </a:prstGeom>
          <a:noFill/>
        </p:spPr>
        <p:txBody>
          <a:bodyPr wrap="square" rtlCol="0">
            <a:spAutoFit/>
          </a:bodyPr>
          <a:lstStyle/>
          <a:p>
            <a:pPr algn="ctr">
              <a:spcAft>
                <a:spcPts val="300"/>
              </a:spcAft>
            </a:pPr>
            <a:r>
              <a:rPr lang="en-GB" sz="1100" b="1" dirty="0" err="1">
                <a:solidFill>
                  <a:srgbClr val="242F58"/>
                </a:solidFill>
                <a:latin typeface="Tahoma" panose="020B0604030504040204" pitchFamily="34" charset="0"/>
                <a:ea typeface="Tahoma" panose="020B0604030504040204" pitchFamily="34" charset="0"/>
                <a:cs typeface="Tahoma" panose="020B0604030504040204" pitchFamily="34" charset="0"/>
              </a:rPr>
              <a:t>MaxDepth</a:t>
            </a:r>
            <a:endPar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3</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5,8,15,20,30]</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MinInstancesPerNode</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1, 5, 10, 25,</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50</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 100]</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MinInfoGain</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0</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 0.1]</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MaxBins</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16</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32]</a:t>
            </a:r>
          </a:p>
        </p:txBody>
      </p:sp>
      <p:sp>
        <p:nvSpPr>
          <p:cNvPr id="10" name="TextBox 9">
            <a:extLst>
              <a:ext uri="{FF2B5EF4-FFF2-40B4-BE49-F238E27FC236}">
                <a16:creationId xmlns:a16="http://schemas.microsoft.com/office/drawing/2014/main" id="{1A9B38EA-6266-389C-6341-91442FADE41F}"/>
              </a:ext>
            </a:extLst>
          </p:cNvPr>
          <p:cNvSpPr txBox="1"/>
          <p:nvPr/>
        </p:nvSpPr>
        <p:spPr>
          <a:xfrm>
            <a:off x="4459461" y="1569226"/>
            <a:ext cx="1983545" cy="307777"/>
          </a:xfrm>
          <a:prstGeom prst="rect">
            <a:avLst/>
          </a:prstGeom>
          <a:noFill/>
        </p:spPr>
        <p:txBody>
          <a:bodyPr wrap="square" rtlCol="0">
            <a:spAutoFit/>
          </a:bodyPr>
          <a:lstStyle/>
          <a:p>
            <a:pPr algn="ctr"/>
            <a:r>
              <a:rPr lang="en-GB" b="1" dirty="0">
                <a:solidFill>
                  <a:srgbClr val="242F58"/>
                </a:solidFill>
                <a:latin typeface="Tahoma" panose="020B0604030504040204" pitchFamily="34" charset="0"/>
                <a:ea typeface="Tahoma" panose="020B0604030504040204" pitchFamily="34" charset="0"/>
                <a:cs typeface="Tahoma" panose="020B0604030504040204" pitchFamily="34" charset="0"/>
              </a:rPr>
              <a:t>Random Forest</a:t>
            </a:r>
          </a:p>
        </p:txBody>
      </p:sp>
      <p:sp>
        <p:nvSpPr>
          <p:cNvPr id="11" name="TextBox 10">
            <a:extLst>
              <a:ext uri="{FF2B5EF4-FFF2-40B4-BE49-F238E27FC236}">
                <a16:creationId xmlns:a16="http://schemas.microsoft.com/office/drawing/2014/main" id="{AB93925A-4C87-D519-F116-08867E348CD4}"/>
              </a:ext>
            </a:extLst>
          </p:cNvPr>
          <p:cNvSpPr txBox="1"/>
          <p:nvPr/>
        </p:nvSpPr>
        <p:spPr>
          <a:xfrm>
            <a:off x="4167188" y="1877003"/>
            <a:ext cx="2574389" cy="2454518"/>
          </a:xfrm>
          <a:prstGeom prst="rect">
            <a:avLst/>
          </a:prstGeom>
          <a:noFill/>
        </p:spPr>
        <p:txBody>
          <a:bodyPr wrap="square" rtlCol="0">
            <a:spAutoFit/>
          </a:bodyPr>
          <a:lstStyle/>
          <a:p>
            <a:pPr algn="ctr">
              <a:spcAft>
                <a:spcPts val="300"/>
              </a:spcAft>
            </a:pPr>
            <a:r>
              <a:rPr lang="en-GB" sz="1100" b="1" err="1">
                <a:solidFill>
                  <a:srgbClr val="242F58"/>
                </a:solidFill>
                <a:latin typeface="Tahoma" panose="020B0604030504040204" pitchFamily="34" charset="0"/>
                <a:ea typeface="Tahoma" panose="020B0604030504040204" pitchFamily="34" charset="0"/>
                <a:cs typeface="Tahoma" panose="020B0604030504040204" pitchFamily="34" charset="0"/>
              </a:rPr>
              <a:t>MaxDepth</a:t>
            </a:r>
            <a:endParaRPr lang="en-GB" sz="11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2,3,5,</a:t>
            </a:r>
            <a:r>
              <a:rPr lang="en-GB" sz="1100" b="1">
                <a:solidFill>
                  <a:srgbClr val="242F58"/>
                </a:solidFill>
                <a:latin typeface="Tahoma" panose="020B0604030504040204" pitchFamily="34" charset="0"/>
                <a:ea typeface="Tahoma" panose="020B0604030504040204" pitchFamily="34" charset="0"/>
                <a:cs typeface="Tahoma" panose="020B0604030504040204" pitchFamily="34" charset="0"/>
              </a:rPr>
              <a:t>7</a:t>
            </a: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spcAft>
                <a:spcPts val="300"/>
              </a:spcAft>
            </a:pPr>
            <a:r>
              <a:rPr lang="en-GB" sz="1100" err="1">
                <a:solidFill>
                  <a:srgbClr val="242F58"/>
                </a:solidFill>
                <a:latin typeface="Tahoma" panose="020B0604030504040204" pitchFamily="34" charset="0"/>
                <a:ea typeface="Tahoma" panose="020B0604030504040204" pitchFamily="34" charset="0"/>
                <a:cs typeface="Tahoma" panose="020B0604030504040204" pitchFamily="34" charset="0"/>
              </a:rPr>
              <a:t>MinInstancesPerNode</a:t>
            </a:r>
            <a:endParaRPr lang="en-GB" sz="110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1,5,</a:t>
            </a:r>
            <a:r>
              <a:rPr lang="en-GB" sz="1100" b="1">
                <a:solidFill>
                  <a:srgbClr val="242F58"/>
                </a:solidFill>
                <a:latin typeface="Tahoma" panose="020B0604030504040204" pitchFamily="34" charset="0"/>
                <a:ea typeface="Tahoma" panose="020B0604030504040204" pitchFamily="34" charset="0"/>
                <a:cs typeface="Tahoma" panose="020B0604030504040204" pitchFamily="34" charset="0"/>
              </a:rPr>
              <a:t>10</a:t>
            </a: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spcAft>
                <a:spcPts val="300"/>
              </a:spcAft>
            </a:pPr>
            <a:r>
              <a:rPr lang="en-GB" sz="1100" err="1">
                <a:solidFill>
                  <a:srgbClr val="242F58"/>
                </a:solidFill>
                <a:latin typeface="Tahoma" panose="020B0604030504040204" pitchFamily="34" charset="0"/>
                <a:ea typeface="Tahoma" panose="020B0604030504040204" pitchFamily="34" charset="0"/>
                <a:cs typeface="Tahoma" panose="020B0604030504040204" pitchFamily="34" charset="0"/>
              </a:rPr>
              <a:t>featureSubsetStrategy</a:t>
            </a:r>
            <a:endParaRPr lang="en-GB" sz="110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a:solidFill>
                  <a:srgbClr val="242F58"/>
                </a:solidFill>
                <a:latin typeface="Tahoma" panose="020B0604030504040204" pitchFamily="34" charset="0"/>
                <a:ea typeface="Tahoma" panose="020B0604030504040204" pitchFamily="34" charset="0"/>
                <a:cs typeface="Tahoma" panose="020B0604030504040204" pitchFamily="34" charset="0"/>
              </a:rPr>
              <a:t>p/3</a:t>
            </a: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spcAft>
                <a:spcPts val="300"/>
              </a:spcAft>
            </a:pPr>
            <a:r>
              <a:rPr lang="en-GB" sz="1100" err="1">
                <a:solidFill>
                  <a:srgbClr val="242F58"/>
                </a:solidFill>
                <a:latin typeface="Tahoma" panose="020B0604030504040204" pitchFamily="34" charset="0"/>
                <a:ea typeface="Tahoma" panose="020B0604030504040204" pitchFamily="34" charset="0"/>
                <a:cs typeface="Tahoma" panose="020B0604030504040204" pitchFamily="34" charset="0"/>
              </a:rPr>
              <a:t>subsamplingRate</a:t>
            </a:r>
            <a:endParaRPr lang="en-GB" sz="110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0.5,0.75,</a:t>
            </a:r>
            <a:r>
              <a:rPr lang="en-GB" sz="1100" b="1">
                <a:solidFill>
                  <a:srgbClr val="242F58"/>
                </a:solidFill>
                <a:latin typeface="Tahoma" panose="020B0604030504040204" pitchFamily="34" charset="0"/>
                <a:ea typeface="Tahoma" panose="020B0604030504040204" pitchFamily="34" charset="0"/>
                <a:cs typeface="Tahoma" panose="020B0604030504040204" pitchFamily="34" charset="0"/>
              </a:rPr>
              <a:t>1</a:t>
            </a: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spcBef>
                <a:spcPts val="600"/>
              </a:spcBef>
              <a:spcAft>
                <a:spcPts val="300"/>
              </a:spcAft>
            </a:pPr>
            <a:r>
              <a:rPr lang="en-GB" sz="1100" err="1">
                <a:solidFill>
                  <a:srgbClr val="242F58"/>
                </a:solidFill>
                <a:latin typeface="Tahoma" panose="020B0604030504040204" pitchFamily="34" charset="0"/>
                <a:ea typeface="Tahoma" panose="020B0604030504040204" pitchFamily="34" charset="0"/>
                <a:cs typeface="Tahoma" panose="020B0604030504040204" pitchFamily="34" charset="0"/>
              </a:rPr>
              <a:t>numTrees</a:t>
            </a:r>
            <a:endParaRPr lang="en-GB" sz="110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a:solidFill>
                  <a:srgbClr val="242F58"/>
                </a:solidFill>
                <a:latin typeface="Tahoma" panose="020B0604030504040204" pitchFamily="34" charset="0"/>
                <a:ea typeface="Tahoma" panose="020B0604030504040204" pitchFamily="34" charset="0"/>
                <a:cs typeface="Tahoma" panose="020B0604030504040204" pitchFamily="34" charset="0"/>
              </a:rPr>
              <a:t>150</a:t>
            </a:r>
            <a:r>
              <a:rPr lang="en-GB" sz="110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endParaRPr lang="en-GB" sz="1100">
              <a:solidFill>
                <a:srgbClr val="242F58"/>
              </a:solidFill>
              <a:latin typeface="Tahoma" panose="020B0604030504040204" pitchFamily="34" charset="0"/>
              <a:ea typeface="Tahoma" panose="020B0604030504040204" pitchFamily="34" charset="0"/>
              <a:cs typeface="Tahoma" panose="020B0604030504040204" pitchFamily="34" charset="0"/>
            </a:endParaRPr>
          </a:p>
        </p:txBody>
      </p:sp>
      <p:sp>
        <p:nvSpPr>
          <p:cNvPr id="3" name="TextBox 2">
            <a:extLst>
              <a:ext uri="{FF2B5EF4-FFF2-40B4-BE49-F238E27FC236}">
                <a16:creationId xmlns:a16="http://schemas.microsoft.com/office/drawing/2014/main" id="{A9FD9241-6DA6-22BA-EC74-3B713B1ECE42}"/>
              </a:ext>
            </a:extLst>
          </p:cNvPr>
          <p:cNvSpPr txBox="1"/>
          <p:nvPr/>
        </p:nvSpPr>
        <p:spPr>
          <a:xfrm>
            <a:off x="6541479" y="1569226"/>
            <a:ext cx="1983545" cy="307777"/>
          </a:xfrm>
          <a:prstGeom prst="rect">
            <a:avLst/>
          </a:prstGeom>
          <a:noFill/>
        </p:spPr>
        <p:txBody>
          <a:bodyPr wrap="square" rtlCol="0">
            <a:spAutoFit/>
          </a:bodyPr>
          <a:lstStyle/>
          <a:p>
            <a:pPr algn="ctr"/>
            <a:r>
              <a:rPr lang="en-GB" b="1" dirty="0">
                <a:solidFill>
                  <a:srgbClr val="242F58"/>
                </a:solidFill>
                <a:latin typeface="Tahoma" panose="020B0604030504040204" pitchFamily="34" charset="0"/>
                <a:ea typeface="Tahoma" panose="020B0604030504040204" pitchFamily="34" charset="0"/>
                <a:cs typeface="Tahoma" panose="020B0604030504040204" pitchFamily="34" charset="0"/>
              </a:rPr>
              <a:t>Gradient Boosting</a:t>
            </a:r>
          </a:p>
        </p:txBody>
      </p:sp>
      <p:sp>
        <p:nvSpPr>
          <p:cNvPr id="6" name="TextBox 5">
            <a:extLst>
              <a:ext uri="{FF2B5EF4-FFF2-40B4-BE49-F238E27FC236}">
                <a16:creationId xmlns:a16="http://schemas.microsoft.com/office/drawing/2014/main" id="{B2727F72-586B-226E-1E8D-C0AA7BBBA949}"/>
              </a:ext>
            </a:extLst>
          </p:cNvPr>
          <p:cNvSpPr txBox="1"/>
          <p:nvPr/>
        </p:nvSpPr>
        <p:spPr>
          <a:xfrm>
            <a:off x="6246056" y="1877003"/>
            <a:ext cx="2574389" cy="1831271"/>
          </a:xfrm>
          <a:prstGeom prst="rect">
            <a:avLst/>
          </a:prstGeom>
          <a:noFill/>
        </p:spPr>
        <p:txBody>
          <a:bodyPr wrap="square" rtlCol="0">
            <a:spAutoFit/>
          </a:bodyPr>
          <a:lstStyle/>
          <a:p>
            <a:pPr algn="ctr">
              <a:spcAft>
                <a:spcPts val="300"/>
              </a:spcAft>
            </a:pPr>
            <a:r>
              <a:rPr lang="en-GB" sz="1100" b="1" dirty="0" err="1">
                <a:solidFill>
                  <a:srgbClr val="242F58"/>
                </a:solidFill>
                <a:latin typeface="Tahoma" panose="020B0604030504040204" pitchFamily="34" charset="0"/>
                <a:ea typeface="Tahoma" panose="020B0604030504040204" pitchFamily="34" charset="0"/>
                <a:cs typeface="Tahoma" panose="020B0604030504040204" pitchFamily="34" charset="0"/>
              </a:rPr>
              <a:t>MaxDepth</a:t>
            </a:r>
            <a:endPar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2</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4,6]</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MaxIter</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10,20,30,</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50</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100]</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stepSize</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Aft>
                <a:spcPts val="600"/>
              </a:spcAft>
            </a:pP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0.1</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p>
          <a:p>
            <a:pPr algn="ctr">
              <a:spcAft>
                <a:spcPts val="300"/>
              </a:spcAft>
            </a:pPr>
            <a:r>
              <a:rPr lang="en-GB" sz="1100" dirty="0" err="1">
                <a:solidFill>
                  <a:srgbClr val="242F58"/>
                </a:solidFill>
                <a:latin typeface="Tahoma" panose="020B0604030504040204" pitchFamily="34" charset="0"/>
                <a:ea typeface="Tahoma" panose="020B0604030504040204" pitchFamily="34" charset="0"/>
                <a:cs typeface="Tahoma" panose="020B0604030504040204" pitchFamily="34" charset="0"/>
              </a:rPr>
              <a:t>MaxBins</a:t>
            </a:r>
            <a:endPar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r>
              <a:rPr lang="en-GB" sz="1100" b="1" dirty="0">
                <a:solidFill>
                  <a:srgbClr val="242F58"/>
                </a:solidFill>
                <a:latin typeface="Tahoma" panose="020B0604030504040204" pitchFamily="34" charset="0"/>
                <a:ea typeface="Tahoma" panose="020B0604030504040204" pitchFamily="34" charset="0"/>
                <a:cs typeface="Tahoma" panose="020B0604030504040204" pitchFamily="34" charset="0"/>
              </a:rPr>
              <a:t>32</a:t>
            </a:r>
            <a:r>
              <a:rPr lang="en-GB" sz="1100" dirty="0">
                <a:solidFill>
                  <a:srgbClr val="242F58"/>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11371421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MODEL COMPARISON</a:t>
            </a:r>
          </a:p>
        </p:txBody>
      </p:sp>
      <p:graphicFrame>
        <p:nvGraphicFramePr>
          <p:cNvPr id="3" name="Table 2">
            <a:extLst>
              <a:ext uri="{FF2B5EF4-FFF2-40B4-BE49-F238E27FC236}">
                <a16:creationId xmlns:a16="http://schemas.microsoft.com/office/drawing/2014/main" id="{2E35F77A-9BE4-9FFD-66FA-125E5FAB7107}"/>
              </a:ext>
            </a:extLst>
          </p:cNvPr>
          <p:cNvGraphicFramePr>
            <a:graphicFrameLocks noGrp="1"/>
          </p:cNvGraphicFramePr>
          <p:nvPr>
            <p:extLst>
              <p:ext uri="{D42A27DB-BD31-4B8C-83A1-F6EECF244321}">
                <p14:modId xmlns:p14="http://schemas.microsoft.com/office/powerpoint/2010/main" val="1917409542"/>
              </p:ext>
            </p:extLst>
          </p:nvPr>
        </p:nvGraphicFramePr>
        <p:xfrm>
          <a:off x="401232" y="2120411"/>
          <a:ext cx="3197853" cy="1706004"/>
        </p:xfrm>
        <a:graphic>
          <a:graphicData uri="http://schemas.openxmlformats.org/drawingml/2006/table">
            <a:tbl>
              <a:tblPr firstRow="1" bandRow="1">
                <a:tableStyleId>{2FF4BB1D-9B9B-497A-A6D5-F217B081F8ED}</a:tableStyleId>
              </a:tblPr>
              <a:tblGrid>
                <a:gridCol w="2019616">
                  <a:extLst>
                    <a:ext uri="{9D8B030D-6E8A-4147-A177-3AD203B41FA5}">
                      <a16:colId xmlns:a16="http://schemas.microsoft.com/office/drawing/2014/main" val="3494403006"/>
                    </a:ext>
                  </a:extLst>
                </a:gridCol>
                <a:gridCol w="1178237">
                  <a:extLst>
                    <a:ext uri="{9D8B030D-6E8A-4147-A177-3AD203B41FA5}">
                      <a16:colId xmlns:a16="http://schemas.microsoft.com/office/drawing/2014/main" val="1297222483"/>
                    </a:ext>
                  </a:extLst>
                </a:gridCol>
              </a:tblGrid>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Model</a:t>
                      </a:r>
                    </a:p>
                  </a:txBody>
                  <a:tcPr anchor="ctr">
                    <a:solidFill>
                      <a:srgbClr val="242F58"/>
                    </a:solidFill>
                  </a:tcPr>
                </a:tc>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RMSE</a:t>
                      </a:r>
                    </a:p>
                  </a:txBody>
                  <a:tcPr anchor="ctr">
                    <a:solidFill>
                      <a:srgbClr val="242F58"/>
                    </a:solidFill>
                  </a:tcPr>
                </a:tc>
                <a:extLst>
                  <a:ext uri="{0D108BD9-81ED-4DB2-BD59-A6C34878D82A}">
                    <a16:rowId xmlns:a16="http://schemas.microsoft.com/office/drawing/2014/main" val="794842143"/>
                  </a:ext>
                </a:extLst>
              </a:tr>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Linear Regression</a:t>
                      </a:r>
                    </a:p>
                  </a:txBody>
                  <a:tcPr anchor="ctr">
                    <a:solidFill>
                      <a:srgbClr val="242F58"/>
                    </a:solidFill>
                  </a:tcPr>
                </a:tc>
                <a:tc>
                  <a:txBody>
                    <a:bodyPr/>
                    <a:lstStyle/>
                    <a:p>
                      <a:pPr algn="ctr"/>
                      <a:r>
                        <a:rPr lang="en-GB" sz="1100" b="0" i="0" u="none" strike="noStrike" cap="none">
                          <a:solidFill>
                            <a:srgbClr val="000000"/>
                          </a:solidFill>
                          <a:effectLst/>
                          <a:latin typeface="Arial"/>
                          <a:ea typeface="Arial"/>
                          <a:cs typeface="Arial"/>
                          <a:sym typeface="Arial"/>
                        </a:rPr>
                        <a:t>0.1112</a:t>
                      </a:r>
                      <a:endParaRPr lang="en-GB" sz="1100" b="0" i="0" u="none" strike="noStrike" cap="none">
                        <a:solidFill>
                          <a:srgbClr val="000000"/>
                        </a:solidFill>
                        <a:effectLst/>
                        <a:latin typeface="Arial"/>
                        <a:ea typeface="Tahoma" panose="020B0604030504040204" pitchFamily="34" charset="0"/>
                        <a:cs typeface="Arial"/>
                        <a:sym typeface="Arial"/>
                      </a:endParaRPr>
                    </a:p>
                  </a:txBody>
                  <a:tcPr anchor="ctr"/>
                </a:tc>
                <a:extLst>
                  <a:ext uri="{0D108BD9-81ED-4DB2-BD59-A6C34878D82A}">
                    <a16:rowId xmlns:a16="http://schemas.microsoft.com/office/drawing/2014/main" val="1973991357"/>
                  </a:ext>
                </a:extLst>
              </a:tr>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Decision Tree</a:t>
                      </a:r>
                    </a:p>
                  </a:txBody>
                  <a:tcPr anchor="ctr">
                    <a:solidFill>
                      <a:srgbClr val="242F58"/>
                    </a:solid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Arial"/>
                          <a:cs typeface="Arial"/>
                          <a:sym typeface="Arial"/>
                        </a:rPr>
                        <a:t>0.0953</a:t>
                      </a:r>
                      <a:endParaRPr lang="en-GB" sz="1100" b="0" i="0" u="none" strike="noStrike" cap="none">
                        <a:solidFill>
                          <a:srgbClr val="000000"/>
                        </a:solidFill>
                        <a:effectLst/>
                        <a:latin typeface="Arial"/>
                        <a:ea typeface="Tahoma" panose="020B0604030504040204" pitchFamily="34" charset="0"/>
                        <a:cs typeface="Arial"/>
                        <a:sym typeface="Arial"/>
                      </a:endParaRPr>
                    </a:p>
                  </a:txBody>
                  <a:tcPr anchor="ctr"/>
                </a:tc>
                <a:extLst>
                  <a:ext uri="{0D108BD9-81ED-4DB2-BD59-A6C34878D82A}">
                    <a16:rowId xmlns:a16="http://schemas.microsoft.com/office/drawing/2014/main" val="341627845"/>
                  </a:ext>
                </a:extLst>
              </a:tr>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Gradient Boosting</a:t>
                      </a:r>
                    </a:p>
                  </a:txBody>
                  <a:tcPr anchor="ctr">
                    <a:solidFill>
                      <a:srgbClr val="242F58"/>
                    </a:solidFill>
                  </a:tcPr>
                </a:tc>
                <a:tc>
                  <a:txBody>
                    <a:bodyPr/>
                    <a:lstStyle/>
                    <a:p>
                      <a:pPr algn="ctr"/>
                      <a:r>
                        <a:rPr lang="en-GB" sz="1100" b="0" i="0" u="none" strike="noStrike" cap="none">
                          <a:solidFill>
                            <a:srgbClr val="000000"/>
                          </a:solidFill>
                          <a:effectLst/>
                          <a:latin typeface="Arial"/>
                          <a:ea typeface="Tahoma" panose="020B0604030504040204" pitchFamily="34" charset="0"/>
                          <a:cs typeface="Arial"/>
                          <a:sym typeface="Arial"/>
                        </a:rPr>
                        <a:t>0.0933</a:t>
                      </a:r>
                    </a:p>
                  </a:txBody>
                  <a:tcPr anchor="ctr"/>
                </a:tc>
                <a:extLst>
                  <a:ext uri="{0D108BD9-81ED-4DB2-BD59-A6C34878D82A}">
                    <a16:rowId xmlns:a16="http://schemas.microsoft.com/office/drawing/2014/main" val="1897529146"/>
                  </a:ext>
                </a:extLst>
              </a:tr>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Random Forest</a:t>
                      </a:r>
                    </a:p>
                  </a:txBody>
                  <a:tcPr anchor="ctr">
                    <a:solidFill>
                      <a:srgbClr val="242F58"/>
                    </a:solidFill>
                  </a:tcPr>
                </a:tc>
                <a:tc>
                  <a:txBody>
                    <a:bodyPr/>
                    <a:lstStyle/>
                    <a:p>
                      <a:pPr algn="ctr"/>
                      <a:r>
                        <a:rPr lang="en-GB" sz="1100" b="1" i="0" u="none" strike="noStrike" cap="none">
                          <a:solidFill>
                            <a:srgbClr val="000000"/>
                          </a:solidFill>
                          <a:effectLst/>
                          <a:latin typeface="Arial"/>
                          <a:ea typeface="Arial"/>
                          <a:cs typeface="Arial"/>
                          <a:sym typeface="Arial"/>
                        </a:rPr>
                        <a:t>0.0911</a:t>
                      </a:r>
                      <a:endParaRPr lang="en-GB" sz="1100" b="1" i="0" u="none" strike="noStrike" cap="none">
                        <a:solidFill>
                          <a:srgbClr val="000000"/>
                        </a:solidFill>
                        <a:effectLst/>
                        <a:latin typeface="Arial"/>
                        <a:ea typeface="Tahoma" panose="020B0604030504040204" pitchFamily="34" charset="0"/>
                        <a:cs typeface="Arial"/>
                        <a:sym typeface="Arial"/>
                      </a:endParaRPr>
                    </a:p>
                  </a:txBody>
                  <a:tcPr anchor="ctr"/>
                </a:tc>
                <a:extLst>
                  <a:ext uri="{0D108BD9-81ED-4DB2-BD59-A6C34878D82A}">
                    <a16:rowId xmlns:a16="http://schemas.microsoft.com/office/drawing/2014/main" val="2328956296"/>
                  </a:ext>
                </a:extLst>
              </a:tr>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AutoGluon</a:t>
                      </a:r>
                    </a:p>
                  </a:txBody>
                  <a:tcPr anchor="ctr">
                    <a:solidFill>
                      <a:schemeClr val="tx1">
                        <a:lumMod val="50000"/>
                        <a:lumOff val="50000"/>
                      </a:schemeClr>
                    </a:solidFill>
                  </a:tcPr>
                </a:tc>
                <a:tc>
                  <a:txBody>
                    <a:bodyPr/>
                    <a:lstStyle/>
                    <a:p>
                      <a:pPr algn="ctr"/>
                      <a:r>
                        <a:rPr lang="en-GB" sz="1100" b="0" i="0" u="none" strike="noStrike" cap="none">
                          <a:solidFill>
                            <a:srgbClr val="000000"/>
                          </a:solidFill>
                          <a:effectLst/>
                          <a:latin typeface="Arial"/>
                          <a:ea typeface="Arial"/>
                          <a:cs typeface="Arial"/>
                          <a:sym typeface="Arial"/>
                        </a:rPr>
                        <a:t>0.0817</a:t>
                      </a:r>
                      <a:endParaRPr lang="en-GB" sz="1100" b="0" i="0" u="none" strike="noStrike" cap="none">
                        <a:solidFill>
                          <a:srgbClr val="000000"/>
                        </a:solidFill>
                        <a:effectLst/>
                        <a:latin typeface="Arial"/>
                        <a:ea typeface="Tahoma" panose="020B0604030504040204" pitchFamily="34" charset="0"/>
                        <a:cs typeface="Arial"/>
                        <a:sym typeface="Arial"/>
                      </a:endParaRPr>
                    </a:p>
                  </a:txBody>
                  <a:tcPr anchor="ctr"/>
                </a:tc>
                <a:extLst>
                  <a:ext uri="{0D108BD9-81ED-4DB2-BD59-A6C34878D82A}">
                    <a16:rowId xmlns:a16="http://schemas.microsoft.com/office/drawing/2014/main" val="3271482566"/>
                  </a:ext>
                </a:extLst>
              </a:tr>
            </a:tbl>
          </a:graphicData>
        </a:graphic>
      </p:graphicFrame>
      <p:sp>
        <p:nvSpPr>
          <p:cNvPr id="4" name="TextBox 3">
            <a:extLst>
              <a:ext uri="{FF2B5EF4-FFF2-40B4-BE49-F238E27FC236}">
                <a16:creationId xmlns:a16="http://schemas.microsoft.com/office/drawing/2014/main" id="{CAB3312E-CE4A-42EF-47B8-D59461EE8E54}"/>
              </a:ext>
            </a:extLst>
          </p:cNvPr>
          <p:cNvSpPr txBox="1"/>
          <p:nvPr/>
        </p:nvSpPr>
        <p:spPr>
          <a:xfrm>
            <a:off x="466781" y="1674055"/>
            <a:ext cx="3066757" cy="307777"/>
          </a:xfrm>
          <a:prstGeom prst="rect">
            <a:avLst/>
          </a:prstGeom>
          <a:noFill/>
        </p:spPr>
        <p:txBody>
          <a:bodyPr wrap="square" rtlCol="0">
            <a:spAutoFit/>
          </a:bodyPr>
          <a:lstStyle/>
          <a:p>
            <a:r>
              <a:rPr lang="en-GB" b="1">
                <a:solidFill>
                  <a:srgbClr val="0F1A42"/>
                </a:solidFill>
                <a:latin typeface="Tahoma" panose="020B0604030504040204" pitchFamily="34" charset="0"/>
                <a:ea typeface="Tahoma" panose="020B0604030504040204" pitchFamily="34" charset="0"/>
                <a:cs typeface="Tahoma" panose="020B0604030504040204" pitchFamily="34" charset="0"/>
              </a:rPr>
              <a:t>Based on cross-validation score</a:t>
            </a:r>
          </a:p>
        </p:txBody>
      </p:sp>
      <p:graphicFrame>
        <p:nvGraphicFramePr>
          <p:cNvPr id="5" name="Table 4">
            <a:extLst>
              <a:ext uri="{FF2B5EF4-FFF2-40B4-BE49-F238E27FC236}">
                <a16:creationId xmlns:a16="http://schemas.microsoft.com/office/drawing/2014/main" id="{DEBCCF06-1ED1-BEFF-2640-06388AB5EA37}"/>
              </a:ext>
            </a:extLst>
          </p:cNvPr>
          <p:cNvGraphicFramePr>
            <a:graphicFrameLocks noGrp="1"/>
          </p:cNvGraphicFramePr>
          <p:nvPr>
            <p:extLst>
              <p:ext uri="{D42A27DB-BD31-4B8C-83A1-F6EECF244321}">
                <p14:modId xmlns:p14="http://schemas.microsoft.com/office/powerpoint/2010/main" val="132025555"/>
              </p:ext>
            </p:extLst>
          </p:nvPr>
        </p:nvGraphicFramePr>
        <p:xfrm>
          <a:off x="4337337" y="2475719"/>
          <a:ext cx="4086663" cy="568668"/>
        </p:xfrm>
        <a:graphic>
          <a:graphicData uri="http://schemas.openxmlformats.org/drawingml/2006/table">
            <a:tbl>
              <a:tblPr firstRow="1" bandRow="1">
                <a:tableStyleId>{2FF4BB1D-9B9B-497A-A6D5-F217B081F8ED}</a:tableStyleId>
              </a:tblPr>
              <a:tblGrid>
                <a:gridCol w="1225907">
                  <a:extLst>
                    <a:ext uri="{9D8B030D-6E8A-4147-A177-3AD203B41FA5}">
                      <a16:colId xmlns:a16="http://schemas.microsoft.com/office/drawing/2014/main" val="3494403006"/>
                    </a:ext>
                  </a:extLst>
                </a:gridCol>
                <a:gridCol w="715189">
                  <a:extLst>
                    <a:ext uri="{9D8B030D-6E8A-4147-A177-3AD203B41FA5}">
                      <a16:colId xmlns:a16="http://schemas.microsoft.com/office/drawing/2014/main" val="1297222483"/>
                    </a:ext>
                  </a:extLst>
                </a:gridCol>
                <a:gridCol w="715189">
                  <a:extLst>
                    <a:ext uri="{9D8B030D-6E8A-4147-A177-3AD203B41FA5}">
                      <a16:colId xmlns:a16="http://schemas.microsoft.com/office/drawing/2014/main" val="1657396413"/>
                    </a:ext>
                  </a:extLst>
                </a:gridCol>
                <a:gridCol w="715189">
                  <a:extLst>
                    <a:ext uri="{9D8B030D-6E8A-4147-A177-3AD203B41FA5}">
                      <a16:colId xmlns:a16="http://schemas.microsoft.com/office/drawing/2014/main" val="1363601854"/>
                    </a:ext>
                  </a:extLst>
                </a:gridCol>
                <a:gridCol w="715189">
                  <a:extLst>
                    <a:ext uri="{9D8B030D-6E8A-4147-A177-3AD203B41FA5}">
                      <a16:colId xmlns:a16="http://schemas.microsoft.com/office/drawing/2014/main" val="3478566048"/>
                    </a:ext>
                  </a:extLst>
                </a:gridCol>
              </a:tblGrid>
              <a:tr h="284334">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Model</a:t>
                      </a:r>
                    </a:p>
                  </a:txBody>
                  <a:tcPr anchor="ctr">
                    <a:solidFill>
                      <a:srgbClr val="242F58"/>
                    </a:solidFill>
                  </a:tcPr>
                </a:tc>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RMSE</a:t>
                      </a:r>
                    </a:p>
                  </a:txBody>
                  <a:tcPr anchor="ctr">
                    <a:solidFill>
                      <a:srgbClr val="242F58"/>
                    </a:solidFill>
                  </a:tcPr>
                </a:tc>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MSE</a:t>
                      </a:r>
                    </a:p>
                  </a:txBody>
                  <a:tcPr anchor="ctr">
                    <a:solidFill>
                      <a:srgbClr val="242F58"/>
                    </a:solidFill>
                  </a:tcPr>
                </a:tc>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MAE</a:t>
                      </a:r>
                    </a:p>
                  </a:txBody>
                  <a:tcPr anchor="ctr">
                    <a:solidFill>
                      <a:srgbClr val="242F58"/>
                    </a:solidFill>
                  </a:tcPr>
                </a:tc>
                <a:tc>
                  <a:txBody>
                    <a:bodyPr/>
                    <a:lstStyle/>
                    <a:p>
                      <a:pPr algn="ct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R</a:t>
                      </a:r>
                      <a:r>
                        <a:rPr lang="en-GB" sz="1100" b="1" baseline="30000">
                          <a:solidFill>
                            <a:schemeClr val="accent5"/>
                          </a:solidFill>
                          <a:latin typeface="Tahoma" panose="020B0604030504040204" pitchFamily="34" charset="0"/>
                          <a:ea typeface="Tahoma" panose="020B0604030504040204" pitchFamily="34" charset="0"/>
                          <a:cs typeface="Tahoma" panose="020B0604030504040204" pitchFamily="34" charset="0"/>
                        </a:rPr>
                        <a:t>2</a:t>
                      </a:r>
                    </a:p>
                  </a:txBody>
                  <a:tcPr anchor="ctr">
                    <a:solidFill>
                      <a:srgbClr val="242F58"/>
                    </a:solidFill>
                  </a:tcPr>
                </a:tc>
                <a:extLst>
                  <a:ext uri="{0D108BD9-81ED-4DB2-BD59-A6C34878D82A}">
                    <a16:rowId xmlns:a16="http://schemas.microsoft.com/office/drawing/2014/main" val="794842143"/>
                  </a:ext>
                </a:extLst>
              </a:tr>
              <a:tr h="28433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100" b="1">
                          <a:solidFill>
                            <a:schemeClr val="accent5"/>
                          </a:solidFill>
                          <a:latin typeface="Tahoma" panose="020B0604030504040204" pitchFamily="34" charset="0"/>
                          <a:ea typeface="Tahoma" panose="020B0604030504040204" pitchFamily="34" charset="0"/>
                          <a:cs typeface="Tahoma" panose="020B0604030504040204" pitchFamily="34" charset="0"/>
                        </a:rPr>
                        <a:t>AutoGluon</a:t>
                      </a:r>
                    </a:p>
                  </a:txBody>
                  <a:tcPr anchor="ctr">
                    <a:solidFill>
                      <a:schemeClr val="tx1">
                        <a:lumMod val="50000"/>
                        <a:lumOff val="50000"/>
                      </a:schemeClr>
                    </a:solidFill>
                  </a:tcP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Tahoma" panose="020B0604030504040204" pitchFamily="34" charset="0"/>
                          <a:cs typeface="Arial"/>
                          <a:sym typeface="Arial"/>
                        </a:rPr>
                        <a:t>0.1600</a:t>
                      </a:r>
                    </a:p>
                  </a:txBody>
                  <a:tcPr anchor="ct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Tahoma" panose="020B0604030504040204" pitchFamily="34" charset="0"/>
                          <a:cs typeface="Arial"/>
                          <a:sym typeface="Arial"/>
                        </a:rPr>
                        <a:t>0.0256</a:t>
                      </a:r>
                    </a:p>
                  </a:txBody>
                  <a:tcPr anchor="ctr"/>
                </a:tc>
                <a:tc>
                  <a:txBody>
                    <a:bodyPr/>
                    <a:lstStyle/>
                    <a:p>
                      <a:pPr marR="0" algn="ctr" rtl="0">
                        <a:lnSpc>
                          <a:spcPct val="100000"/>
                        </a:lnSpc>
                        <a:spcBef>
                          <a:spcPts val="0"/>
                        </a:spcBef>
                        <a:spcAft>
                          <a:spcPts val="0"/>
                        </a:spcAft>
                        <a:buClr>
                          <a:srgbClr val="000000"/>
                        </a:buClr>
                        <a:buFont typeface="Arial"/>
                      </a:pPr>
                      <a:r>
                        <a:rPr lang="en-GB" sz="1100" b="0" i="0" u="none" strike="noStrike" cap="none">
                          <a:solidFill>
                            <a:srgbClr val="000000"/>
                          </a:solidFill>
                          <a:effectLst/>
                          <a:latin typeface="Arial"/>
                          <a:ea typeface="Tahoma" panose="020B0604030504040204" pitchFamily="34" charset="0"/>
                          <a:cs typeface="Arial"/>
                          <a:sym typeface="Arial"/>
                        </a:rPr>
                        <a:t>0.0978</a:t>
                      </a:r>
                    </a:p>
                  </a:txBody>
                  <a:tcPr anchor="ctr"/>
                </a:tc>
                <a:tc>
                  <a:txBody>
                    <a:bodyPr/>
                    <a:lstStyle/>
                    <a:p>
                      <a:pPr marR="0" algn="ctr" rtl="0">
                        <a:lnSpc>
                          <a:spcPct val="100000"/>
                        </a:lnSpc>
                        <a:spcBef>
                          <a:spcPts val="0"/>
                        </a:spcBef>
                        <a:spcAft>
                          <a:spcPts val="0"/>
                        </a:spcAft>
                        <a:buClr>
                          <a:srgbClr val="000000"/>
                        </a:buClr>
                        <a:buFont typeface="Arial"/>
                      </a:pPr>
                      <a:r>
                        <a:rPr lang="en-GB" sz="1100" b="0" i="0" u="none" strike="noStrike" cap="none" dirty="0">
                          <a:solidFill>
                            <a:srgbClr val="000000"/>
                          </a:solidFill>
                          <a:effectLst/>
                          <a:latin typeface="Arial"/>
                          <a:ea typeface="Tahoma" panose="020B0604030504040204" pitchFamily="34" charset="0"/>
                          <a:cs typeface="Arial"/>
                          <a:sym typeface="Arial"/>
                        </a:rPr>
                        <a:t>0.4405</a:t>
                      </a:r>
                    </a:p>
                  </a:txBody>
                  <a:tcPr anchor="ctr"/>
                </a:tc>
                <a:extLst>
                  <a:ext uri="{0D108BD9-81ED-4DB2-BD59-A6C34878D82A}">
                    <a16:rowId xmlns:a16="http://schemas.microsoft.com/office/drawing/2014/main" val="2081954996"/>
                  </a:ext>
                </a:extLst>
              </a:tr>
            </a:tbl>
          </a:graphicData>
        </a:graphic>
      </p:graphicFrame>
      <p:sp>
        <p:nvSpPr>
          <p:cNvPr id="6" name="TextBox 5">
            <a:extLst>
              <a:ext uri="{FF2B5EF4-FFF2-40B4-BE49-F238E27FC236}">
                <a16:creationId xmlns:a16="http://schemas.microsoft.com/office/drawing/2014/main" id="{268193C6-BA80-95C8-35FF-6436690DA614}"/>
              </a:ext>
            </a:extLst>
          </p:cNvPr>
          <p:cNvSpPr txBox="1"/>
          <p:nvPr/>
        </p:nvSpPr>
        <p:spPr>
          <a:xfrm>
            <a:off x="4781741" y="2119415"/>
            <a:ext cx="3197853" cy="307777"/>
          </a:xfrm>
          <a:prstGeom prst="rect">
            <a:avLst/>
          </a:prstGeom>
          <a:noFill/>
        </p:spPr>
        <p:txBody>
          <a:bodyPr wrap="square" rtlCol="0">
            <a:spAutoFit/>
          </a:bodyPr>
          <a:lstStyle/>
          <a:p>
            <a:pPr algn="ctr"/>
            <a:r>
              <a:rPr lang="en-GB" b="1">
                <a:solidFill>
                  <a:srgbClr val="0F1A42"/>
                </a:solidFill>
                <a:latin typeface="Tahoma" panose="020B0604030504040204" pitchFamily="34" charset="0"/>
                <a:ea typeface="Tahoma" panose="020B0604030504040204" pitchFamily="34" charset="0"/>
                <a:cs typeface="Tahoma" panose="020B0604030504040204" pitchFamily="34" charset="0"/>
              </a:rPr>
              <a:t>Best model score on test set</a:t>
            </a:r>
          </a:p>
        </p:txBody>
      </p:sp>
    </p:spTree>
    <p:extLst>
      <p:ext uri="{BB962C8B-B14F-4D97-AF65-F5344CB8AC3E}">
        <p14:creationId xmlns:p14="http://schemas.microsoft.com/office/powerpoint/2010/main" val="32079143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SHAP — </a:t>
            </a:r>
            <a:r>
              <a:rPr lang="en-GB" err="1"/>
              <a:t>AutoGluon</a:t>
            </a:r>
            <a:endParaRPr lang="en-GB"/>
          </a:p>
        </p:txBody>
      </p:sp>
      <p:pic>
        <p:nvPicPr>
          <p:cNvPr id="1026" name="Picture 2">
            <a:extLst>
              <a:ext uri="{FF2B5EF4-FFF2-40B4-BE49-F238E27FC236}">
                <a16:creationId xmlns:a16="http://schemas.microsoft.com/office/drawing/2014/main" id="{FA199820-A576-8D24-66B5-A4A3E08092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111" y="786503"/>
            <a:ext cx="3650117" cy="4356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4487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FURTHER CONSIDERATIONS / improvements</a:t>
            </a:r>
          </a:p>
        </p:txBody>
      </p:sp>
      <p:sp>
        <p:nvSpPr>
          <p:cNvPr id="3" name="TextBox 2">
            <a:extLst>
              <a:ext uri="{FF2B5EF4-FFF2-40B4-BE49-F238E27FC236}">
                <a16:creationId xmlns:a16="http://schemas.microsoft.com/office/drawing/2014/main" id="{704AF013-E194-81D8-0804-18FD586C4F41}"/>
              </a:ext>
            </a:extLst>
          </p:cNvPr>
          <p:cNvSpPr txBox="1"/>
          <p:nvPr/>
        </p:nvSpPr>
        <p:spPr>
          <a:xfrm>
            <a:off x="574857" y="1363727"/>
            <a:ext cx="8235314" cy="2723823"/>
          </a:xfrm>
          <a:prstGeom prst="rect">
            <a:avLst/>
          </a:prstGeom>
          <a:noFill/>
        </p:spPr>
        <p:txBody>
          <a:bodyPr wrap="square" rtlCol="0">
            <a:spAutoFit/>
          </a:bodyPr>
          <a:lstStyle/>
          <a:p>
            <a:pPr marL="342900" indent="-342900">
              <a:buFont typeface="+mj-lt"/>
              <a:buAutoNum type="arabicPeriod"/>
            </a:pPr>
            <a:r>
              <a:rPr lang="en-GB" b="1" dirty="0">
                <a:solidFill>
                  <a:srgbClr val="0F1A42"/>
                </a:solidFill>
                <a:latin typeface="Tahoma" panose="020B0604030504040204" pitchFamily="34" charset="0"/>
                <a:ea typeface="Tahoma" panose="020B0604030504040204" pitchFamily="34" charset="0"/>
                <a:cs typeface="Tahoma" panose="020B0604030504040204" pitchFamily="34" charset="0"/>
              </a:rPr>
              <a:t>Engagement rate calculations currently include only initial comments</a:t>
            </a:r>
          </a:p>
          <a:p>
            <a:pPr marL="705150" indent="-342900">
              <a:spcBef>
                <a:spcPts val="600"/>
              </a:spcBef>
              <a:spcAft>
                <a:spcPts val="600"/>
              </a:spcAft>
              <a:buFont typeface="Arial" panose="020B0604020202020204" pitchFamily="34" charset="0"/>
              <a:buChar char="•"/>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Replies were not included, this should be done to be fully correct</a:t>
            </a:r>
          </a:p>
          <a:p>
            <a:pPr marL="705150" indent="-342900">
              <a:spcAft>
                <a:spcPts val="600"/>
              </a:spcAft>
              <a:buFont typeface="Arial" panose="020B0604020202020204" pitchFamily="34" charset="0"/>
              <a:buChar char="•"/>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On average this raises the number of comments by 8.3% </a:t>
            </a:r>
            <a:endParaRPr lang="en-GB" dirty="0">
              <a:solidFill>
                <a:srgbClr val="0F1A42"/>
              </a:solidFill>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endParaRPr>
          </a:p>
          <a:p>
            <a:pPr marL="705150" indent="-342900">
              <a:spcAft>
                <a:spcPts val="600"/>
              </a:spcAft>
              <a:buFont typeface="Arial" panose="020B0604020202020204" pitchFamily="34" charset="0"/>
              <a:buChar char="•"/>
            </a:pPr>
            <a:r>
              <a:rPr lang="en-GB" b="1" dirty="0">
                <a:solidFill>
                  <a:srgbClr val="0F1A42"/>
                </a:solidFill>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BUT:</a:t>
            </a:r>
            <a:r>
              <a:rPr lang="en-GB" dirty="0">
                <a:solidFill>
                  <a:srgbClr val="0F1A42"/>
                </a:solidFill>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after deducting company responses (not considered follower engagement), only 6.4%</a:t>
            </a:r>
            <a:endParaRPr lang="en-GB" b="1" dirty="0">
              <a:solidFill>
                <a:srgbClr val="0F1A42"/>
              </a:solidFill>
              <a:latin typeface="Tahoma" panose="020B0604030504040204" pitchFamily="34" charset="0"/>
              <a:ea typeface="Tahoma" panose="020B0604030504040204" pitchFamily="34" charset="0"/>
              <a:cs typeface="Tahoma" panose="020B0604030504040204" pitchFamily="34" charset="0"/>
            </a:endParaRPr>
          </a:p>
          <a:p>
            <a:pPr marL="342900" indent="-342900">
              <a:buFont typeface="+mj-lt"/>
              <a:buAutoNum type="arabicPeriod" startAt="2"/>
            </a:pPr>
            <a:r>
              <a:rPr lang="en-GB" b="1" dirty="0">
                <a:solidFill>
                  <a:srgbClr val="0F1A42"/>
                </a:solidFill>
                <a:latin typeface="Tahoma" panose="020B0604030504040204" pitchFamily="34" charset="0"/>
                <a:ea typeface="Tahoma" panose="020B0604030504040204" pitchFamily="34" charset="0"/>
                <a:cs typeface="Tahoma" panose="020B0604030504040204" pitchFamily="34" charset="0"/>
              </a:rPr>
              <a:t>Still some autocorrelation / non-stationarity in the data when modelling</a:t>
            </a:r>
          </a:p>
          <a:p>
            <a:pPr marL="705150" indent="-342900">
              <a:spcBef>
                <a:spcPts val="600"/>
              </a:spcBef>
              <a:spcAft>
                <a:spcPts val="600"/>
              </a:spcAft>
              <a:buFont typeface="Arial" panose="020B0604020202020204" pitchFamily="34" charset="0"/>
              <a:buChar char="•"/>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Make scores on the test set a lot worse, should be explored</a:t>
            </a:r>
          </a:p>
          <a:p>
            <a:pPr marL="705150" indent="-342900">
              <a:spcBef>
                <a:spcPts val="600"/>
              </a:spcBef>
              <a:spcAft>
                <a:spcPts val="600"/>
              </a:spcAft>
              <a:buFont typeface="Arial" panose="020B0604020202020204" pitchFamily="34" charset="0"/>
              <a:buChar char="•"/>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Note: explored time differencing but with little good results </a:t>
            </a:r>
          </a:p>
          <a:p>
            <a:pPr marL="342900" indent="-342900">
              <a:buFont typeface="+mj-lt"/>
              <a:buAutoNum type="arabicPeriod" startAt="3"/>
            </a:pPr>
            <a:r>
              <a:rPr lang="en-GB" b="1" dirty="0">
                <a:solidFill>
                  <a:srgbClr val="0F1A42"/>
                </a:solidFill>
                <a:latin typeface="Tahoma" panose="020B0604030504040204" pitchFamily="34" charset="0"/>
                <a:ea typeface="Tahoma" panose="020B0604030504040204" pitchFamily="34" charset="0"/>
                <a:cs typeface="Tahoma" panose="020B0604030504040204" pitchFamily="34" charset="0"/>
              </a:rPr>
              <a:t>Sentiment comments not included </a:t>
            </a:r>
          </a:p>
          <a:p>
            <a:pPr marL="705150" lvl="3" indent="-342900">
              <a:spcBef>
                <a:spcPts val="600"/>
              </a:spcBef>
              <a:spcAft>
                <a:spcPts val="600"/>
              </a:spcAft>
              <a:buFont typeface="Arial" panose="020B0604020202020204" pitchFamily="34" charset="0"/>
              <a:buChar char="•"/>
            </a:pPr>
            <a:r>
              <a:rPr lang="en-GB" dirty="0">
                <a:solidFill>
                  <a:srgbClr val="0F1A42"/>
                </a:solidFill>
                <a:latin typeface="Tahoma" panose="020B0604030504040204" pitchFamily="34" charset="0"/>
                <a:ea typeface="Tahoma" panose="020B0604030504040204" pitchFamily="34" charset="0"/>
                <a:cs typeface="Tahoma" panose="020B0604030504040204" pitchFamily="34" charset="0"/>
              </a:rPr>
              <a:t>Focus on drivers the company can directly influence (but found to be relevant in literature)</a:t>
            </a:r>
          </a:p>
        </p:txBody>
      </p:sp>
    </p:spTree>
    <p:extLst>
      <p:ext uri="{BB962C8B-B14F-4D97-AF65-F5344CB8AC3E}">
        <p14:creationId xmlns:p14="http://schemas.microsoft.com/office/powerpoint/2010/main" val="3499493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2128077B-5E05-103E-322C-868238E41096}"/>
              </a:ext>
            </a:extLst>
          </p:cNvPr>
          <p:cNvGrpSpPr/>
          <p:nvPr/>
        </p:nvGrpSpPr>
        <p:grpSpPr>
          <a:xfrm>
            <a:off x="108438" y="1513121"/>
            <a:ext cx="5802923" cy="2861986"/>
            <a:chOff x="108438" y="1513121"/>
            <a:chExt cx="5802923" cy="2861986"/>
          </a:xfrm>
        </p:grpSpPr>
        <p:pic>
          <p:nvPicPr>
            <p:cNvPr id="4" name="Picture 3">
              <a:extLst>
                <a:ext uri="{FF2B5EF4-FFF2-40B4-BE49-F238E27FC236}">
                  <a16:creationId xmlns:a16="http://schemas.microsoft.com/office/drawing/2014/main" id="{DC65DB66-DD93-ADE8-85B2-33D7FDCC45F1}"/>
                </a:ext>
              </a:extLst>
            </p:cNvPr>
            <p:cNvPicPr>
              <a:picLocks noChangeAspect="1"/>
            </p:cNvPicPr>
            <p:nvPr/>
          </p:nvPicPr>
          <p:blipFill>
            <a:blip r:embed="rId3"/>
            <a:srcRect/>
            <a:stretch/>
          </p:blipFill>
          <p:spPr>
            <a:xfrm>
              <a:off x="108438" y="1513121"/>
              <a:ext cx="5802923" cy="2861986"/>
            </a:xfrm>
            <a:prstGeom prst="rect">
              <a:avLst/>
            </a:prstGeom>
          </p:spPr>
        </p:pic>
        <p:grpSp>
          <p:nvGrpSpPr>
            <p:cNvPr id="10" name="Group 9">
              <a:extLst>
                <a:ext uri="{FF2B5EF4-FFF2-40B4-BE49-F238E27FC236}">
                  <a16:creationId xmlns:a16="http://schemas.microsoft.com/office/drawing/2014/main" id="{FC56D1AA-C9B0-5417-9B7D-7700A209DDCC}"/>
                </a:ext>
              </a:extLst>
            </p:cNvPr>
            <p:cNvGrpSpPr/>
            <p:nvPr/>
          </p:nvGrpSpPr>
          <p:grpSpPr>
            <a:xfrm>
              <a:off x="742659" y="1687184"/>
              <a:ext cx="811821" cy="446791"/>
              <a:chOff x="163539" y="1402080"/>
              <a:chExt cx="811821" cy="446791"/>
            </a:xfrm>
          </p:grpSpPr>
          <p:pic>
            <p:nvPicPr>
              <p:cNvPr id="5" name="Picture 4" descr="A logo on a black background&#10;&#10;Description automatically generated">
                <a:extLst>
                  <a:ext uri="{FF2B5EF4-FFF2-40B4-BE49-F238E27FC236}">
                    <a16:creationId xmlns:a16="http://schemas.microsoft.com/office/drawing/2014/main" id="{CC62DDE8-14D8-DA12-FDE0-160D61D75C0D}"/>
                  </a:ext>
                </a:extLst>
              </p:cNvPr>
              <p:cNvPicPr>
                <a:picLocks noChangeAspect="1"/>
              </p:cNvPicPr>
              <p:nvPr/>
            </p:nvPicPr>
            <p:blipFill rotWithShape="1">
              <a:blip r:embed="rId4"/>
              <a:srcRect l="10596" t="38994" r="10322" b="39251"/>
              <a:stretch/>
            </p:blipFill>
            <p:spPr>
              <a:xfrm>
                <a:off x="163539" y="1468890"/>
                <a:ext cx="556461" cy="102050"/>
              </a:xfrm>
              <a:prstGeom prst="rect">
                <a:avLst/>
              </a:prstGeom>
            </p:spPr>
          </p:pic>
          <p:pic>
            <p:nvPicPr>
              <p:cNvPr id="6" name="Picture 5" descr="A logo with blue and yellow stripes&#10;&#10;Description automatically generated">
                <a:extLst>
                  <a:ext uri="{FF2B5EF4-FFF2-40B4-BE49-F238E27FC236}">
                    <a16:creationId xmlns:a16="http://schemas.microsoft.com/office/drawing/2014/main" id="{714A24E8-44D5-975B-A194-F74A2891F580}"/>
                  </a:ext>
                </a:extLst>
              </p:cNvPr>
              <p:cNvPicPr>
                <a:picLocks noChangeAspect="1"/>
              </p:cNvPicPr>
              <p:nvPr/>
            </p:nvPicPr>
            <p:blipFill rotWithShape="1">
              <a:blip r:embed="rId5"/>
              <a:srcRect t="15551" b="16865"/>
              <a:stretch/>
            </p:blipFill>
            <p:spPr>
              <a:xfrm>
                <a:off x="163540" y="1570940"/>
                <a:ext cx="564142" cy="239831"/>
              </a:xfrm>
              <a:prstGeom prst="rect">
                <a:avLst/>
              </a:prstGeom>
            </p:spPr>
          </p:pic>
          <p:pic>
            <p:nvPicPr>
              <p:cNvPr id="9" name="Picture 8">
                <a:extLst>
                  <a:ext uri="{FF2B5EF4-FFF2-40B4-BE49-F238E27FC236}">
                    <a16:creationId xmlns:a16="http://schemas.microsoft.com/office/drawing/2014/main" id="{7D8A5ABF-DBC7-BDCE-F22F-C88D0AF75955}"/>
                  </a:ext>
                </a:extLst>
              </p:cNvPr>
              <p:cNvPicPr>
                <a:picLocks noChangeAspect="1"/>
              </p:cNvPicPr>
              <p:nvPr/>
            </p:nvPicPr>
            <p:blipFill>
              <a:blip r:embed="rId6"/>
              <a:stretch>
                <a:fillRect/>
              </a:stretch>
            </p:blipFill>
            <p:spPr>
              <a:xfrm>
                <a:off x="727682" y="1402080"/>
                <a:ext cx="247678" cy="446791"/>
              </a:xfrm>
              <a:prstGeom prst="rect">
                <a:avLst/>
              </a:prstGeom>
            </p:spPr>
          </p:pic>
        </p:grpSp>
      </p:grpSp>
      <p:grpSp>
        <p:nvGrpSpPr>
          <p:cNvPr id="31" name="Group 30">
            <a:extLst>
              <a:ext uri="{FF2B5EF4-FFF2-40B4-BE49-F238E27FC236}">
                <a16:creationId xmlns:a16="http://schemas.microsoft.com/office/drawing/2014/main" id="{A3F79858-824F-26AE-92D8-7CACA580AB43}"/>
              </a:ext>
            </a:extLst>
          </p:cNvPr>
          <p:cNvGrpSpPr/>
          <p:nvPr/>
        </p:nvGrpSpPr>
        <p:grpSpPr>
          <a:xfrm>
            <a:off x="108437" y="1513121"/>
            <a:ext cx="5802923" cy="2864638"/>
            <a:chOff x="108438" y="1517560"/>
            <a:chExt cx="5802923" cy="2864637"/>
          </a:xfrm>
        </p:grpSpPr>
        <p:pic>
          <p:nvPicPr>
            <p:cNvPr id="32" name="Picture 31">
              <a:extLst>
                <a:ext uri="{FF2B5EF4-FFF2-40B4-BE49-F238E27FC236}">
                  <a16:creationId xmlns:a16="http://schemas.microsoft.com/office/drawing/2014/main" id="{8D5C96F5-FC33-8B91-0A1A-694D6A68588D}"/>
                </a:ext>
              </a:extLst>
            </p:cNvPr>
            <p:cNvPicPr>
              <a:picLocks noChangeAspect="1"/>
            </p:cNvPicPr>
            <p:nvPr/>
          </p:nvPicPr>
          <p:blipFill>
            <a:blip r:embed="rId7"/>
            <a:srcRect/>
            <a:stretch/>
          </p:blipFill>
          <p:spPr>
            <a:xfrm>
              <a:off x="108438" y="1517560"/>
              <a:ext cx="5802923" cy="2864637"/>
            </a:xfrm>
            <a:prstGeom prst="rect">
              <a:avLst/>
            </a:prstGeom>
          </p:spPr>
        </p:pic>
        <p:grpSp>
          <p:nvGrpSpPr>
            <p:cNvPr id="33" name="Group 32">
              <a:extLst>
                <a:ext uri="{FF2B5EF4-FFF2-40B4-BE49-F238E27FC236}">
                  <a16:creationId xmlns:a16="http://schemas.microsoft.com/office/drawing/2014/main" id="{DD3FBE3D-D905-5719-DE10-79F0430A2A29}"/>
                </a:ext>
              </a:extLst>
            </p:cNvPr>
            <p:cNvGrpSpPr/>
            <p:nvPr/>
          </p:nvGrpSpPr>
          <p:grpSpPr>
            <a:xfrm>
              <a:off x="742659" y="1693534"/>
              <a:ext cx="811821" cy="446791"/>
              <a:chOff x="163539" y="1408430"/>
              <a:chExt cx="811821" cy="446791"/>
            </a:xfrm>
          </p:grpSpPr>
          <p:pic>
            <p:nvPicPr>
              <p:cNvPr id="34" name="Picture 33" descr="A logo on a black background&#10;&#10;Description automatically generated">
                <a:extLst>
                  <a:ext uri="{FF2B5EF4-FFF2-40B4-BE49-F238E27FC236}">
                    <a16:creationId xmlns:a16="http://schemas.microsoft.com/office/drawing/2014/main" id="{2426E36E-3B4D-25D8-B66C-2A41D94C0D82}"/>
                  </a:ext>
                </a:extLst>
              </p:cNvPr>
              <p:cNvPicPr>
                <a:picLocks noChangeAspect="1"/>
              </p:cNvPicPr>
              <p:nvPr/>
            </p:nvPicPr>
            <p:blipFill rotWithShape="1">
              <a:blip r:embed="rId4"/>
              <a:srcRect l="10596" t="38994" r="10322" b="39251"/>
              <a:stretch/>
            </p:blipFill>
            <p:spPr>
              <a:xfrm>
                <a:off x="163539" y="1475240"/>
                <a:ext cx="556461" cy="102050"/>
              </a:xfrm>
              <a:prstGeom prst="rect">
                <a:avLst/>
              </a:prstGeom>
            </p:spPr>
          </p:pic>
          <p:pic>
            <p:nvPicPr>
              <p:cNvPr id="35" name="Picture 34" descr="A logo with blue and yellow stripes&#10;&#10;Description automatically generated">
                <a:extLst>
                  <a:ext uri="{FF2B5EF4-FFF2-40B4-BE49-F238E27FC236}">
                    <a16:creationId xmlns:a16="http://schemas.microsoft.com/office/drawing/2014/main" id="{363CDEEA-056A-3C7D-8DEF-CB96EC95EC94}"/>
                  </a:ext>
                </a:extLst>
              </p:cNvPr>
              <p:cNvPicPr>
                <a:picLocks noChangeAspect="1"/>
              </p:cNvPicPr>
              <p:nvPr/>
            </p:nvPicPr>
            <p:blipFill rotWithShape="1">
              <a:blip r:embed="rId5"/>
              <a:srcRect t="15551" b="16865"/>
              <a:stretch/>
            </p:blipFill>
            <p:spPr>
              <a:xfrm>
                <a:off x="163540" y="1577290"/>
                <a:ext cx="564142" cy="239831"/>
              </a:xfrm>
              <a:prstGeom prst="rect">
                <a:avLst/>
              </a:prstGeom>
            </p:spPr>
          </p:pic>
          <p:pic>
            <p:nvPicPr>
              <p:cNvPr id="36" name="Picture 35">
                <a:extLst>
                  <a:ext uri="{FF2B5EF4-FFF2-40B4-BE49-F238E27FC236}">
                    <a16:creationId xmlns:a16="http://schemas.microsoft.com/office/drawing/2014/main" id="{EA0124B5-46FB-EA4E-B679-B4174FCD10D4}"/>
                  </a:ext>
                </a:extLst>
              </p:cNvPr>
              <p:cNvPicPr>
                <a:picLocks noChangeAspect="1"/>
              </p:cNvPicPr>
              <p:nvPr/>
            </p:nvPicPr>
            <p:blipFill>
              <a:blip r:embed="rId6"/>
              <a:stretch>
                <a:fillRect/>
              </a:stretch>
            </p:blipFill>
            <p:spPr>
              <a:xfrm>
                <a:off x="727682" y="1408430"/>
                <a:ext cx="247678" cy="446791"/>
              </a:xfrm>
              <a:prstGeom prst="rect">
                <a:avLst/>
              </a:prstGeom>
            </p:spPr>
          </p:pic>
        </p:grpSp>
      </p:gr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Both COMPANIES share a Similar growth story</a:t>
            </a:r>
          </a:p>
        </p:txBody>
      </p:sp>
      <p:sp>
        <p:nvSpPr>
          <p:cNvPr id="8" name="TextBox 7">
            <a:extLst>
              <a:ext uri="{FF2B5EF4-FFF2-40B4-BE49-F238E27FC236}">
                <a16:creationId xmlns:a16="http://schemas.microsoft.com/office/drawing/2014/main" id="{85DDA93D-4730-428F-5641-16113E529787}"/>
              </a:ext>
            </a:extLst>
          </p:cNvPr>
          <p:cNvSpPr txBox="1"/>
          <p:nvPr/>
        </p:nvSpPr>
        <p:spPr>
          <a:xfrm>
            <a:off x="0" y="4774168"/>
            <a:ext cx="6414869" cy="338554"/>
          </a:xfrm>
          <a:prstGeom prst="rect">
            <a:avLst/>
          </a:prstGeom>
          <a:noFill/>
        </p:spPr>
        <p:txBody>
          <a:bodyPr wrap="square" rtlCol="0">
            <a:spAutoFit/>
          </a:bodyPr>
          <a:lstStyle/>
          <a:p>
            <a:r>
              <a:rPr lang="en-GB" sz="800" baseline="300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1</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Approximation using historical snapshots of follower counts: </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hlinkClick r:id="rId8">
                  <a:extLst>
                    <a:ext uri="{A12FA001-AC4F-418D-AE19-62706E023703}">
                      <ahyp:hlinkClr xmlns:ahyp="http://schemas.microsoft.com/office/drawing/2018/hyperlinkcolor" val="tx"/>
                    </a:ext>
                  </a:extLst>
                </a:hlinkClick>
              </a:rPr>
              <a:t>https://web.archive.org/</a:t>
            </a:r>
            <a:endPar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n-GB" sz="800" baseline="300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2</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hlinkClick r:id="rId9">
                  <a:extLst>
                    <a:ext uri="{A12FA001-AC4F-418D-AE19-62706E023703}">
                      <ahyp:hlinkClr xmlns:ahyp="http://schemas.microsoft.com/office/drawing/2018/hyperlinkcolor" val="tx"/>
                    </a:ext>
                  </a:extLst>
                </a:hlinkClick>
              </a:rPr>
              <a:t>https://www.id1.de/2021/05/11/20-best-airline-brands-on-instagram-in-2021/</a:t>
            </a:r>
            <a:endPar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0" name="TextBox 19">
            <a:extLst>
              <a:ext uri="{FF2B5EF4-FFF2-40B4-BE49-F238E27FC236}">
                <a16:creationId xmlns:a16="http://schemas.microsoft.com/office/drawing/2014/main" id="{CBF76DA4-1F78-EE08-5682-4F01BEA4FC35}"/>
              </a:ext>
            </a:extLst>
          </p:cNvPr>
          <p:cNvSpPr txBox="1"/>
          <p:nvPr/>
        </p:nvSpPr>
        <p:spPr>
          <a:xfrm>
            <a:off x="5699760" y="1090746"/>
            <a:ext cx="3268980" cy="338554"/>
          </a:xfrm>
          <a:prstGeom prst="rect">
            <a:avLst/>
          </a:prstGeom>
          <a:noFill/>
        </p:spPr>
        <p:txBody>
          <a:bodyPr wrap="square" rtlCol="0">
            <a:spAutoFit/>
          </a:bodyPr>
          <a:lstStyle/>
          <a:p>
            <a:pPr algn="ctr"/>
            <a:r>
              <a:rPr lang="en-GB" sz="1600" b="1">
                <a:solidFill>
                  <a:srgbClr val="0A1D3D"/>
                </a:solidFill>
                <a:latin typeface="Tahoma" panose="020B0604030504040204" pitchFamily="34" charset="0"/>
                <a:ea typeface="Tahoma" panose="020B0604030504040204" pitchFamily="34" charset="0"/>
                <a:cs typeface="Tahoma" panose="020B0604030504040204" pitchFamily="34" charset="0"/>
              </a:rPr>
              <a:t>2021 Industry comparison</a:t>
            </a:r>
            <a:r>
              <a:rPr lang="en-GB" sz="1600" b="1" baseline="30000">
                <a:solidFill>
                  <a:srgbClr val="0A1D3D"/>
                </a:solidFill>
                <a:latin typeface="Tahoma" panose="020B0604030504040204" pitchFamily="34" charset="0"/>
                <a:ea typeface="Tahoma" panose="020B0604030504040204" pitchFamily="34" charset="0"/>
                <a:cs typeface="Tahoma" panose="020B0604030504040204" pitchFamily="34" charset="0"/>
              </a:rPr>
              <a:t>2</a:t>
            </a:r>
            <a:endParaRPr lang="en-GB" sz="1600" b="1">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Box 20">
            <a:extLst>
              <a:ext uri="{FF2B5EF4-FFF2-40B4-BE49-F238E27FC236}">
                <a16:creationId xmlns:a16="http://schemas.microsoft.com/office/drawing/2014/main" id="{C1C8ED39-AC71-E524-F863-52BCF2DA540D}"/>
              </a:ext>
            </a:extLst>
          </p:cNvPr>
          <p:cNvSpPr txBox="1"/>
          <p:nvPr/>
        </p:nvSpPr>
        <p:spPr>
          <a:xfrm>
            <a:off x="6018920" y="1713007"/>
            <a:ext cx="2630659" cy="2462213"/>
          </a:xfrm>
          <a:prstGeom prst="rect">
            <a:avLst/>
          </a:prstGeom>
          <a:noFill/>
        </p:spPr>
        <p:txBody>
          <a:bodyPr wrap="square" rtlCol="0">
            <a:spAutoFit/>
          </a:bodyPr>
          <a:lstStyle/>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Emirates: 	5.5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Qatar Airways:	3.4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LATAM Airlines:	1.8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Turkish Airlines:	1.8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Etihad:		1.7M</a:t>
            </a:r>
          </a:p>
          <a:p>
            <a:pPr marL="342900" indent="-342900">
              <a:buClr>
                <a:srgbClr val="0A1D3D"/>
              </a:buClr>
              <a:buAutoNum type="arabicPeriod"/>
            </a:pPr>
            <a:r>
              <a:rPr lang="en-GB" b="1">
                <a:solidFill>
                  <a:srgbClr val="0A1D3D"/>
                </a:solidFill>
                <a:latin typeface="Tahoma" panose="020B0604030504040204" pitchFamily="34" charset="0"/>
                <a:ea typeface="Tahoma" panose="020B0604030504040204" pitchFamily="34" charset="0"/>
                <a:cs typeface="Tahoma" panose="020B0604030504040204" pitchFamily="34" charset="0"/>
              </a:rPr>
              <a:t>Lufthansa:	1.4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KLM:		1.3M</a:t>
            </a:r>
          </a:p>
          <a:p>
            <a:pPr marL="342900" indent="-342900">
              <a:buClr>
                <a:srgbClr val="F99F1C"/>
              </a:buClr>
              <a:buAutoNum type="arabicPeriod"/>
            </a:pPr>
            <a:r>
              <a:rPr lang="en-GB" b="1">
                <a:solidFill>
                  <a:srgbClr val="F99F1C"/>
                </a:solidFill>
                <a:latin typeface="Tahoma" panose="020B0604030504040204" pitchFamily="34" charset="0"/>
                <a:ea typeface="Tahoma" panose="020B0604030504040204" pitchFamily="34" charset="0"/>
                <a:cs typeface="Tahoma" panose="020B0604030504040204" pitchFamily="34" charset="0"/>
              </a:rPr>
              <a:t>Singapore Air:	1.2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Garuda Indonesia:	1.1M</a:t>
            </a:r>
          </a:p>
          <a:p>
            <a:pPr marL="342900" indent="-342900">
              <a:buAutoNum type="arabicPeriod"/>
            </a:pPr>
            <a:r>
              <a:rPr lang="en-GB">
                <a:latin typeface="Tahoma" panose="020B0604030504040204" pitchFamily="34" charset="0"/>
                <a:ea typeface="Tahoma" panose="020B0604030504040204" pitchFamily="34" charset="0"/>
                <a:cs typeface="Tahoma" panose="020B0604030504040204" pitchFamily="34" charset="0"/>
              </a:rPr>
              <a:t>Air France:	1.0M</a:t>
            </a:r>
          </a:p>
          <a:p>
            <a:pPr marL="342900" indent="-342900">
              <a:buAutoNum type="arabicPeriod"/>
            </a:pP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2" name="TextBox 21">
            <a:extLst>
              <a:ext uri="{FF2B5EF4-FFF2-40B4-BE49-F238E27FC236}">
                <a16:creationId xmlns:a16="http://schemas.microsoft.com/office/drawing/2014/main" id="{35CEAB6B-58FD-E3BE-D9EA-24F4190502C3}"/>
              </a:ext>
            </a:extLst>
          </p:cNvPr>
          <p:cNvSpPr txBox="1"/>
          <p:nvPr/>
        </p:nvSpPr>
        <p:spPr>
          <a:xfrm>
            <a:off x="1205819" y="1095185"/>
            <a:ext cx="3608160" cy="338554"/>
          </a:xfrm>
          <a:prstGeom prst="rect">
            <a:avLst/>
          </a:prstGeom>
          <a:noFill/>
        </p:spPr>
        <p:txBody>
          <a:bodyPr wrap="square" rtlCol="0">
            <a:spAutoFit/>
          </a:bodyPr>
          <a:lstStyle/>
          <a:p>
            <a:pPr algn="ctr"/>
            <a:r>
              <a:rPr lang="en-GB" sz="1600" b="1">
                <a:solidFill>
                  <a:srgbClr val="0A1D3D"/>
                </a:solidFill>
                <a:latin typeface="Tahoma" panose="020B0604030504040204" pitchFamily="34" charset="0"/>
                <a:ea typeface="Tahoma" panose="020B0604030504040204" pitchFamily="34" charset="0"/>
                <a:cs typeface="Tahoma" panose="020B0604030504040204" pitchFamily="34" charset="0"/>
              </a:rPr>
              <a:t>Follower growth over time</a:t>
            </a:r>
            <a:r>
              <a:rPr lang="en-GB" sz="1600" b="1" baseline="30000">
                <a:solidFill>
                  <a:srgbClr val="0A1D3D"/>
                </a:solidFill>
                <a:latin typeface="Tahoma" panose="020B0604030504040204" pitchFamily="34" charset="0"/>
                <a:ea typeface="Tahoma" panose="020B0604030504040204" pitchFamily="34" charset="0"/>
                <a:cs typeface="Tahoma" panose="020B0604030504040204" pitchFamily="34" charset="0"/>
              </a:rPr>
              <a:t>1</a:t>
            </a:r>
            <a:endParaRPr lang="en-GB" sz="1600" b="1">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grpSp>
        <p:nvGrpSpPr>
          <p:cNvPr id="15" name="Group 14">
            <a:extLst>
              <a:ext uri="{FF2B5EF4-FFF2-40B4-BE49-F238E27FC236}">
                <a16:creationId xmlns:a16="http://schemas.microsoft.com/office/drawing/2014/main" id="{61B96E84-F959-7AB2-16EB-071314644710}"/>
              </a:ext>
            </a:extLst>
          </p:cNvPr>
          <p:cNvGrpSpPr/>
          <p:nvPr/>
        </p:nvGrpSpPr>
        <p:grpSpPr>
          <a:xfrm>
            <a:off x="8407295" y="21102"/>
            <a:ext cx="871964" cy="503882"/>
            <a:chOff x="8285465" y="129092"/>
            <a:chExt cx="871964" cy="503882"/>
          </a:xfrm>
        </p:grpSpPr>
        <p:sp>
          <p:nvSpPr>
            <p:cNvPr id="16" name="Google Shape;3967;p40">
              <a:extLst>
                <a:ext uri="{FF2B5EF4-FFF2-40B4-BE49-F238E27FC236}">
                  <a16:creationId xmlns:a16="http://schemas.microsoft.com/office/drawing/2014/main" id="{94B95604-E557-ADD2-99BF-55783710DC0E}"/>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General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7" name="Graphic 16">
              <a:extLst>
                <a:ext uri="{FF2B5EF4-FFF2-40B4-BE49-F238E27FC236}">
                  <a16:creationId xmlns:a16="http://schemas.microsoft.com/office/drawing/2014/main" id="{083079AE-C73A-6194-55BE-4A2D8DBBD90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546107" y="129092"/>
              <a:ext cx="378816" cy="235866"/>
            </a:xfrm>
            <a:prstGeom prst="rect">
              <a:avLst/>
            </a:prstGeom>
          </p:spPr>
        </p:pic>
      </p:grpSp>
    </p:spTree>
    <p:extLst>
      <p:ext uri="{BB962C8B-B14F-4D97-AF65-F5344CB8AC3E}">
        <p14:creationId xmlns:p14="http://schemas.microsoft.com/office/powerpoint/2010/main" val="217979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618"/>
        <p:cNvGrpSpPr/>
        <p:nvPr/>
      </p:nvGrpSpPr>
      <p:grpSpPr>
        <a:xfrm>
          <a:off x="0" y="0"/>
          <a:ext cx="0" cy="0"/>
          <a:chOff x="0" y="0"/>
          <a:chExt cx="0" cy="0"/>
        </a:xfrm>
      </p:grpSpPr>
      <p:sp>
        <p:nvSpPr>
          <p:cNvPr id="6619" name="Google Shape;6619;p70"/>
          <p:cNvSpPr txBox="1">
            <a:spLocks noGrp="1"/>
          </p:cNvSpPr>
          <p:nvPr>
            <p:ph type="title"/>
          </p:nvPr>
        </p:nvSpPr>
        <p:spPr>
          <a:xfrm>
            <a:off x="713225" y="1442360"/>
            <a:ext cx="3640726" cy="1058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4800"/>
              <a:t>THANK you for your attention</a:t>
            </a:r>
            <a:endParaRPr sz="4800"/>
          </a:p>
        </p:txBody>
      </p:sp>
      <p:sp>
        <p:nvSpPr>
          <p:cNvPr id="6620" name="Google Shape;6620;p70"/>
          <p:cNvSpPr txBox="1">
            <a:spLocks noGrp="1"/>
          </p:cNvSpPr>
          <p:nvPr>
            <p:ph type="subTitle" idx="1"/>
          </p:nvPr>
        </p:nvSpPr>
        <p:spPr>
          <a:xfrm>
            <a:off x="713225" y="2449080"/>
            <a:ext cx="3355200" cy="1058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400">
                <a:latin typeface="Bebas Neue"/>
                <a:ea typeface="Bebas Neue"/>
                <a:cs typeface="Bebas Neue"/>
                <a:sym typeface="Bebas Neue"/>
              </a:rPr>
              <a:t>DO YOU HAVE ANY QUESTIONS?</a:t>
            </a:r>
            <a:endParaRPr sz="2400">
              <a:latin typeface="Bebas Neue"/>
              <a:ea typeface="Bebas Neue"/>
              <a:cs typeface="Bebas Neue"/>
              <a:sym typeface="Bebas Neue"/>
            </a:endParaRPr>
          </a:p>
        </p:txBody>
      </p:sp>
      <p:grpSp>
        <p:nvGrpSpPr>
          <p:cNvPr id="6635" name="Google Shape;6635;p70"/>
          <p:cNvGrpSpPr/>
          <p:nvPr/>
        </p:nvGrpSpPr>
        <p:grpSpPr>
          <a:xfrm flipH="1">
            <a:off x="6771945" y="160868"/>
            <a:ext cx="1763602" cy="1672817"/>
            <a:chOff x="4138184" y="930105"/>
            <a:chExt cx="3959591" cy="3755764"/>
          </a:xfrm>
        </p:grpSpPr>
        <p:sp>
          <p:nvSpPr>
            <p:cNvPr id="6636" name="Google Shape;6636;p7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7" name="Google Shape;6637;p70"/>
            <p:cNvGrpSpPr/>
            <p:nvPr/>
          </p:nvGrpSpPr>
          <p:grpSpPr>
            <a:xfrm>
              <a:off x="4138184" y="930105"/>
              <a:ext cx="3868174" cy="3755764"/>
              <a:chOff x="4138184" y="930105"/>
              <a:chExt cx="3868174" cy="3755764"/>
            </a:xfrm>
          </p:grpSpPr>
          <p:sp>
            <p:nvSpPr>
              <p:cNvPr id="6638" name="Google Shape;6638;p7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7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7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7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7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7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7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7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7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7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7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7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7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7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7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7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7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7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7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7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7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7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7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7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7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7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7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7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7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7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7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7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7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7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7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7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7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7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7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7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7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7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7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7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7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7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7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7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7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7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7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7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7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7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7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7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7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7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7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773" name="Google Shape;6773;p70"/>
          <p:cNvGrpSpPr/>
          <p:nvPr/>
        </p:nvGrpSpPr>
        <p:grpSpPr>
          <a:xfrm rot="10556056" flipH="1">
            <a:off x="5193307" y="1851623"/>
            <a:ext cx="1739159" cy="1387868"/>
            <a:chOff x="3299950" y="930105"/>
            <a:chExt cx="4706408" cy="3755764"/>
          </a:xfrm>
        </p:grpSpPr>
        <p:sp>
          <p:nvSpPr>
            <p:cNvPr id="6774" name="Google Shape;6774;p70"/>
            <p:cNvSpPr/>
            <p:nvPr/>
          </p:nvSpPr>
          <p:spPr>
            <a:xfrm>
              <a:off x="3299949" y="111817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75" name="Google Shape;6775;p70"/>
            <p:cNvGrpSpPr/>
            <p:nvPr/>
          </p:nvGrpSpPr>
          <p:grpSpPr>
            <a:xfrm>
              <a:off x="4138184" y="930105"/>
              <a:ext cx="3868174" cy="3755764"/>
              <a:chOff x="4138184" y="930105"/>
              <a:chExt cx="3868174" cy="3755764"/>
            </a:xfrm>
          </p:grpSpPr>
          <p:sp>
            <p:nvSpPr>
              <p:cNvPr id="6776" name="Google Shape;6776;p7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7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7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7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7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7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7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7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7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7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7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7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7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7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7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7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7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7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7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7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7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7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7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7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7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7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7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7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7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7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7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7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7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7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7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7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7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7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7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7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7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7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7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7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7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7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7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7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7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7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7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7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7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7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7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7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7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7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7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911" name="Google Shape;6911;p70"/>
          <p:cNvSpPr/>
          <p:nvPr/>
        </p:nvSpPr>
        <p:spPr>
          <a:xfrm flipH="1">
            <a:off x="8016275" y="1390650"/>
            <a:ext cx="1318225" cy="3962400"/>
          </a:xfrm>
          <a:custGeom>
            <a:avLst/>
            <a:gdLst/>
            <a:ahLst/>
            <a:cxnLst/>
            <a:rect l="l" t="t" r="r" b="b"/>
            <a:pathLst>
              <a:path w="52729" h="158496" extrusionOk="0">
                <a:moveTo>
                  <a:pt x="32385" y="0"/>
                </a:moveTo>
                <a:cubicBezTo>
                  <a:pt x="20673" y="1952"/>
                  <a:pt x="9580" y="18835"/>
                  <a:pt x="13335" y="30099"/>
                </a:cubicBezTo>
                <a:cubicBezTo>
                  <a:pt x="16235" y="38798"/>
                  <a:pt x="28389" y="40612"/>
                  <a:pt x="35433" y="46482"/>
                </a:cubicBezTo>
                <a:cubicBezTo>
                  <a:pt x="43634" y="53316"/>
                  <a:pt x="51868" y="62881"/>
                  <a:pt x="52578" y="73533"/>
                </a:cubicBezTo>
                <a:cubicBezTo>
                  <a:pt x="53714" y="90574"/>
                  <a:pt x="46352" y="109079"/>
                  <a:pt x="34671" y="121539"/>
                </a:cubicBezTo>
                <a:cubicBezTo>
                  <a:pt x="23118" y="133862"/>
                  <a:pt x="7554" y="143388"/>
                  <a:pt x="0" y="158496"/>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6912" name="Google Shape;6912;p70"/>
          <p:cNvSpPr/>
          <p:nvPr/>
        </p:nvSpPr>
        <p:spPr>
          <a:xfrm rot="4853850">
            <a:off x="3964784" y="234007"/>
            <a:ext cx="2447908" cy="1588989"/>
          </a:xfrm>
          <a:custGeom>
            <a:avLst/>
            <a:gdLst/>
            <a:ahLst/>
            <a:cxnLst/>
            <a:rect l="l" t="t" r="r" b="b"/>
            <a:pathLst>
              <a:path w="97917" h="63560" extrusionOk="0">
                <a:moveTo>
                  <a:pt x="97917" y="26984"/>
                </a:moveTo>
                <a:cubicBezTo>
                  <a:pt x="84621" y="36956"/>
                  <a:pt x="60077" y="30781"/>
                  <a:pt x="48768" y="18602"/>
                </a:cubicBezTo>
                <a:cubicBezTo>
                  <a:pt x="44368" y="13863"/>
                  <a:pt x="49241" y="-2088"/>
                  <a:pt x="55245" y="314"/>
                </a:cubicBezTo>
                <a:cubicBezTo>
                  <a:pt x="63962" y="3801"/>
                  <a:pt x="48788" y="19241"/>
                  <a:pt x="41148" y="24698"/>
                </a:cubicBezTo>
                <a:cubicBezTo>
                  <a:pt x="25796" y="35664"/>
                  <a:pt x="11786" y="48828"/>
                  <a:pt x="0" y="63560"/>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3" name="Google Shape;3367;p36">
            <a:extLst>
              <a:ext uri="{FF2B5EF4-FFF2-40B4-BE49-F238E27FC236}">
                <a16:creationId xmlns:a16="http://schemas.microsoft.com/office/drawing/2014/main" id="{037DE5E1-F734-5CC5-E721-C8573D0CACAC}"/>
              </a:ext>
            </a:extLst>
          </p:cNvPr>
          <p:cNvSpPr txBox="1">
            <a:spLocks/>
          </p:cNvSpPr>
          <p:nvPr/>
        </p:nvSpPr>
        <p:spPr>
          <a:xfrm>
            <a:off x="713225" y="3507780"/>
            <a:ext cx="2985398" cy="112269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1pPr>
            <a:lvl2pPr marL="914400" marR="0" lvl="1"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2pPr>
            <a:lvl3pPr marL="1371600" marR="0" lvl="2"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3pPr>
            <a:lvl4pPr marL="1828800" marR="0" lvl="3"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4pPr>
            <a:lvl5pPr marL="2286000" marR="0" lvl="4"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5pPr>
            <a:lvl6pPr marL="2743200" marR="0" lvl="5"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6pPr>
            <a:lvl7pPr marL="3200400" marR="0" lvl="6"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7pPr>
            <a:lvl8pPr marL="3657600" marR="0" lvl="7"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8pPr>
            <a:lvl9pPr marL="4114800" marR="0" lvl="8" indent="-317500" algn="ctr" rtl="0">
              <a:lnSpc>
                <a:spcPct val="100000"/>
              </a:lnSpc>
              <a:spcBef>
                <a:spcPts val="0"/>
              </a:spcBef>
              <a:spcAft>
                <a:spcPts val="0"/>
              </a:spcAft>
              <a:buClr>
                <a:schemeClr val="dk1"/>
              </a:buClr>
              <a:buSzPts val="1400"/>
              <a:buFont typeface="Lexend Deca"/>
              <a:buNone/>
              <a:defRPr sz="1400" b="0" i="0" u="none" strike="noStrike" cap="none">
                <a:solidFill>
                  <a:schemeClr val="dk1"/>
                </a:solidFill>
                <a:latin typeface="Lexend Deca"/>
                <a:ea typeface="Lexend Deca"/>
                <a:cs typeface="Lexend Deca"/>
                <a:sym typeface="Lexend Deca"/>
              </a:defRPr>
            </a:lvl9pPr>
          </a:lstStyle>
          <a:p>
            <a:pPr marL="0" indent="0"/>
            <a:r>
              <a:rPr lang="nl-BE" b="1">
                <a:latin typeface="Tahoma" panose="020B0604030504040204" pitchFamily="34" charset="0"/>
                <a:ea typeface="Tahoma" panose="020B0604030504040204" pitchFamily="34" charset="0"/>
                <a:cs typeface="Tahoma" panose="020B0604030504040204" pitchFamily="34" charset="0"/>
              </a:rPr>
              <a:t>Ballegeer Matteo	01900129</a:t>
            </a:r>
          </a:p>
          <a:p>
            <a:pPr marL="0" indent="0"/>
            <a:r>
              <a:rPr lang="nl-BE" b="1">
                <a:latin typeface="Tahoma" panose="020B0604030504040204" pitchFamily="34" charset="0"/>
                <a:ea typeface="Tahoma" panose="020B0604030504040204" pitchFamily="34" charset="0"/>
                <a:cs typeface="Tahoma" panose="020B0604030504040204" pitchFamily="34" charset="0"/>
              </a:rPr>
              <a:t>De Rocker Yaël	01904043</a:t>
            </a:r>
          </a:p>
          <a:p>
            <a:pPr marL="0" indent="0"/>
            <a:r>
              <a:rPr lang="nl-BE" b="1">
                <a:latin typeface="Tahoma" panose="020B0604030504040204" pitchFamily="34" charset="0"/>
                <a:ea typeface="Tahoma" panose="020B0604030504040204" pitchFamily="34" charset="0"/>
                <a:cs typeface="Tahoma" panose="020B0604030504040204" pitchFamily="34" charset="0"/>
              </a:rPr>
              <a:t>Janssens Wannes  	01905583</a:t>
            </a:r>
          </a:p>
          <a:p>
            <a:pPr marL="0" indent="0"/>
            <a:r>
              <a:rPr lang="nl-BE" b="1">
                <a:latin typeface="Tahoma" panose="020B0604030504040204" pitchFamily="34" charset="0"/>
                <a:ea typeface="Tahoma" panose="020B0604030504040204" pitchFamily="34" charset="0"/>
                <a:cs typeface="Tahoma" panose="020B0604030504040204" pitchFamily="34" charset="0"/>
              </a:rPr>
              <a:t>Peire Julian	01900199</a:t>
            </a:r>
          </a:p>
          <a:p>
            <a:pPr marL="0" indent="0"/>
            <a:r>
              <a:rPr lang="nl-BE" b="1">
                <a:latin typeface="Tahoma" panose="020B0604030504040204" pitchFamily="34" charset="0"/>
                <a:ea typeface="Tahoma" panose="020B0604030504040204" pitchFamily="34" charset="0"/>
                <a:cs typeface="Tahoma" panose="020B0604030504040204" pitchFamily="34" charset="0"/>
              </a:rPr>
              <a:t>Willemen Tom 	01900194</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618"/>
        <p:cNvGrpSpPr/>
        <p:nvPr/>
      </p:nvGrpSpPr>
      <p:grpSpPr>
        <a:xfrm>
          <a:off x="0" y="0"/>
          <a:ext cx="0" cy="0"/>
          <a:chOff x="0" y="0"/>
          <a:chExt cx="0" cy="0"/>
        </a:xfrm>
      </p:grpSpPr>
      <p:sp>
        <p:nvSpPr>
          <p:cNvPr id="6619" name="Google Shape;6619;p70"/>
          <p:cNvSpPr txBox="1">
            <a:spLocks noGrp="1"/>
          </p:cNvSpPr>
          <p:nvPr>
            <p:ph type="title"/>
          </p:nvPr>
        </p:nvSpPr>
        <p:spPr>
          <a:xfrm>
            <a:off x="713225" y="1442360"/>
            <a:ext cx="4096240" cy="1058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4800"/>
              <a:t>SUPPORTING SLIDES</a:t>
            </a:r>
            <a:endParaRPr sz="4800"/>
          </a:p>
        </p:txBody>
      </p:sp>
      <p:grpSp>
        <p:nvGrpSpPr>
          <p:cNvPr id="6635" name="Google Shape;6635;p70"/>
          <p:cNvGrpSpPr/>
          <p:nvPr/>
        </p:nvGrpSpPr>
        <p:grpSpPr>
          <a:xfrm flipH="1">
            <a:off x="6771945" y="160868"/>
            <a:ext cx="1763602" cy="1672817"/>
            <a:chOff x="4138184" y="930105"/>
            <a:chExt cx="3959591" cy="3755764"/>
          </a:xfrm>
        </p:grpSpPr>
        <p:sp>
          <p:nvSpPr>
            <p:cNvPr id="6636" name="Google Shape;6636;p7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7" name="Google Shape;6637;p70"/>
            <p:cNvGrpSpPr/>
            <p:nvPr/>
          </p:nvGrpSpPr>
          <p:grpSpPr>
            <a:xfrm>
              <a:off x="4138184" y="930105"/>
              <a:ext cx="3868174" cy="3755764"/>
              <a:chOff x="4138184" y="930105"/>
              <a:chExt cx="3868174" cy="3755764"/>
            </a:xfrm>
          </p:grpSpPr>
          <p:sp>
            <p:nvSpPr>
              <p:cNvPr id="6638" name="Google Shape;6638;p7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7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7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7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7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7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7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7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7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7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7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7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7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7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7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7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7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7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7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7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7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7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7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7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7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7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7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7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7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7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7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7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7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7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7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7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7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7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7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7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7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7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7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7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7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7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7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7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7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7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7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7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7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7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7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7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7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7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7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773" name="Google Shape;6773;p70"/>
          <p:cNvGrpSpPr/>
          <p:nvPr/>
        </p:nvGrpSpPr>
        <p:grpSpPr>
          <a:xfrm rot="10556056" flipH="1">
            <a:off x="5193307" y="1851623"/>
            <a:ext cx="1739159" cy="1387868"/>
            <a:chOff x="3299950" y="930105"/>
            <a:chExt cx="4706408" cy="3755764"/>
          </a:xfrm>
        </p:grpSpPr>
        <p:sp>
          <p:nvSpPr>
            <p:cNvPr id="6774" name="Google Shape;6774;p70"/>
            <p:cNvSpPr/>
            <p:nvPr/>
          </p:nvSpPr>
          <p:spPr>
            <a:xfrm>
              <a:off x="3299949" y="111817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75" name="Google Shape;6775;p70"/>
            <p:cNvGrpSpPr/>
            <p:nvPr/>
          </p:nvGrpSpPr>
          <p:grpSpPr>
            <a:xfrm>
              <a:off x="4138184" y="930105"/>
              <a:ext cx="3868174" cy="3755764"/>
              <a:chOff x="4138184" y="930105"/>
              <a:chExt cx="3868174" cy="3755764"/>
            </a:xfrm>
          </p:grpSpPr>
          <p:sp>
            <p:nvSpPr>
              <p:cNvPr id="6776" name="Google Shape;6776;p7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7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7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7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7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7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7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7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7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7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7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7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7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7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7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7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7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7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7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7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7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7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7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7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7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7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7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7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7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7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7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7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7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7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7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7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7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7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7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7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7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7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7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7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7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7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7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7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7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7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7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7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7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7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7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7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7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7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7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911" name="Google Shape;6911;p70"/>
          <p:cNvSpPr/>
          <p:nvPr/>
        </p:nvSpPr>
        <p:spPr>
          <a:xfrm flipH="1">
            <a:off x="8016275" y="1390650"/>
            <a:ext cx="1318225" cy="3962400"/>
          </a:xfrm>
          <a:custGeom>
            <a:avLst/>
            <a:gdLst/>
            <a:ahLst/>
            <a:cxnLst/>
            <a:rect l="l" t="t" r="r" b="b"/>
            <a:pathLst>
              <a:path w="52729" h="158496" extrusionOk="0">
                <a:moveTo>
                  <a:pt x="32385" y="0"/>
                </a:moveTo>
                <a:cubicBezTo>
                  <a:pt x="20673" y="1952"/>
                  <a:pt x="9580" y="18835"/>
                  <a:pt x="13335" y="30099"/>
                </a:cubicBezTo>
                <a:cubicBezTo>
                  <a:pt x="16235" y="38798"/>
                  <a:pt x="28389" y="40612"/>
                  <a:pt x="35433" y="46482"/>
                </a:cubicBezTo>
                <a:cubicBezTo>
                  <a:pt x="43634" y="53316"/>
                  <a:pt x="51868" y="62881"/>
                  <a:pt x="52578" y="73533"/>
                </a:cubicBezTo>
                <a:cubicBezTo>
                  <a:pt x="53714" y="90574"/>
                  <a:pt x="46352" y="109079"/>
                  <a:pt x="34671" y="121539"/>
                </a:cubicBezTo>
                <a:cubicBezTo>
                  <a:pt x="23118" y="133862"/>
                  <a:pt x="7554" y="143388"/>
                  <a:pt x="0" y="158496"/>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6912" name="Google Shape;6912;p70"/>
          <p:cNvSpPr/>
          <p:nvPr/>
        </p:nvSpPr>
        <p:spPr>
          <a:xfrm rot="4853850">
            <a:off x="3964784" y="234007"/>
            <a:ext cx="2447908" cy="1588989"/>
          </a:xfrm>
          <a:custGeom>
            <a:avLst/>
            <a:gdLst/>
            <a:ahLst/>
            <a:cxnLst/>
            <a:rect l="l" t="t" r="r" b="b"/>
            <a:pathLst>
              <a:path w="97917" h="63560" extrusionOk="0">
                <a:moveTo>
                  <a:pt x="97917" y="26984"/>
                </a:moveTo>
                <a:cubicBezTo>
                  <a:pt x="84621" y="36956"/>
                  <a:pt x="60077" y="30781"/>
                  <a:pt x="48768" y="18602"/>
                </a:cubicBezTo>
                <a:cubicBezTo>
                  <a:pt x="44368" y="13863"/>
                  <a:pt x="49241" y="-2088"/>
                  <a:pt x="55245" y="314"/>
                </a:cubicBezTo>
                <a:cubicBezTo>
                  <a:pt x="63962" y="3801"/>
                  <a:pt x="48788" y="19241"/>
                  <a:pt x="41148" y="24698"/>
                </a:cubicBezTo>
                <a:cubicBezTo>
                  <a:pt x="25796" y="35664"/>
                  <a:pt x="11786" y="48828"/>
                  <a:pt x="0" y="63560"/>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Tree>
    <p:extLst>
      <p:ext uri="{BB962C8B-B14F-4D97-AF65-F5344CB8AC3E}">
        <p14:creationId xmlns:p14="http://schemas.microsoft.com/office/powerpoint/2010/main" val="33305218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2B857-876C-F0D8-9D65-748BB70E3D66}"/>
              </a:ext>
            </a:extLst>
          </p:cNvPr>
          <p:cNvSpPr>
            <a:spLocks noGrp="1"/>
          </p:cNvSpPr>
          <p:nvPr>
            <p:ph type="title"/>
          </p:nvPr>
        </p:nvSpPr>
        <p:spPr/>
        <p:txBody>
          <a:bodyPr/>
          <a:lstStyle/>
          <a:p>
            <a:r>
              <a:rPr lang="fr-BE" err="1"/>
              <a:t>Feature</a:t>
            </a:r>
            <a:r>
              <a:rPr lang="fr-BE"/>
              <a:t> importance Lufthansa usa</a:t>
            </a:r>
            <a:endParaRPr lang="en-BE"/>
          </a:p>
        </p:txBody>
      </p:sp>
      <p:pic>
        <p:nvPicPr>
          <p:cNvPr id="5" name="Picture 4">
            <a:extLst>
              <a:ext uri="{FF2B5EF4-FFF2-40B4-BE49-F238E27FC236}">
                <a16:creationId xmlns:a16="http://schemas.microsoft.com/office/drawing/2014/main" id="{EF3087FB-555D-542A-9096-48552CA9FDF9}"/>
              </a:ext>
            </a:extLst>
          </p:cNvPr>
          <p:cNvPicPr>
            <a:picLocks noChangeAspect="1"/>
          </p:cNvPicPr>
          <p:nvPr/>
        </p:nvPicPr>
        <p:blipFill rotWithShape="1">
          <a:blip r:embed="rId3"/>
          <a:srcRect r="53635"/>
          <a:stretch/>
        </p:blipFill>
        <p:spPr>
          <a:xfrm>
            <a:off x="0" y="846558"/>
            <a:ext cx="7452360" cy="3957706"/>
          </a:xfrm>
          <a:prstGeom prst="rect">
            <a:avLst/>
          </a:prstGeom>
        </p:spPr>
      </p:pic>
      <p:grpSp>
        <p:nvGrpSpPr>
          <p:cNvPr id="8" name="Group 7">
            <a:extLst>
              <a:ext uri="{FF2B5EF4-FFF2-40B4-BE49-F238E27FC236}">
                <a16:creationId xmlns:a16="http://schemas.microsoft.com/office/drawing/2014/main" id="{64D40A81-21C1-0B92-8601-0D5B058D592C}"/>
              </a:ext>
            </a:extLst>
          </p:cNvPr>
          <p:cNvGrpSpPr/>
          <p:nvPr/>
        </p:nvGrpSpPr>
        <p:grpSpPr>
          <a:xfrm>
            <a:off x="7335540" y="3928080"/>
            <a:ext cx="140760" cy="155520"/>
            <a:chOff x="7335540" y="3928080"/>
            <a:chExt cx="140760" cy="155520"/>
          </a:xfrm>
        </p:grpSpPr>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B888A559-8166-C0D5-AAA0-11E179F60F6C}"/>
                    </a:ext>
                  </a:extLst>
                </p14:cNvPr>
                <p14:cNvContentPartPr/>
                <p14:nvPr/>
              </p14:nvContentPartPr>
              <p14:xfrm>
                <a:off x="7335540" y="3928080"/>
                <a:ext cx="140760" cy="155520"/>
              </p14:xfrm>
            </p:contentPart>
          </mc:Choice>
          <mc:Fallback>
            <p:pic>
              <p:nvPicPr>
                <p:cNvPr id="3" name="Ink 2">
                  <a:extLst>
                    <a:ext uri="{FF2B5EF4-FFF2-40B4-BE49-F238E27FC236}">
                      <a16:creationId xmlns:a16="http://schemas.microsoft.com/office/drawing/2014/main" id="{B888A559-8166-C0D5-AAA0-11E179F60F6C}"/>
                    </a:ext>
                  </a:extLst>
                </p:cNvPr>
                <p:cNvPicPr/>
                <p:nvPr/>
              </p:nvPicPr>
              <p:blipFill>
                <a:blip r:embed="rId5"/>
                <a:stretch>
                  <a:fillRect/>
                </a:stretch>
              </p:blipFill>
              <p:spPr>
                <a:xfrm>
                  <a:off x="7272540" y="3865080"/>
                  <a:ext cx="266400" cy="281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16EB67A9-17A1-E00D-A302-B001AB2F3C2F}"/>
                    </a:ext>
                  </a:extLst>
                </p14:cNvPr>
                <p14:cNvContentPartPr/>
                <p14:nvPr/>
              </p14:nvContentPartPr>
              <p14:xfrm>
                <a:off x="7390980" y="3954720"/>
                <a:ext cx="9720" cy="7560"/>
              </p14:xfrm>
            </p:contentPart>
          </mc:Choice>
          <mc:Fallback>
            <p:pic>
              <p:nvPicPr>
                <p:cNvPr id="7" name="Ink 6">
                  <a:extLst>
                    <a:ext uri="{FF2B5EF4-FFF2-40B4-BE49-F238E27FC236}">
                      <a16:creationId xmlns:a16="http://schemas.microsoft.com/office/drawing/2014/main" id="{16EB67A9-17A1-E00D-A302-B001AB2F3C2F}"/>
                    </a:ext>
                  </a:extLst>
                </p:cNvPr>
                <p:cNvPicPr/>
                <p:nvPr/>
              </p:nvPicPr>
              <p:blipFill>
                <a:blip r:embed="rId7"/>
                <a:stretch>
                  <a:fillRect/>
                </a:stretch>
              </p:blipFill>
              <p:spPr>
                <a:xfrm>
                  <a:off x="7327980" y="3891720"/>
                  <a:ext cx="135360" cy="1332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
            <p14:nvContentPartPr>
              <p14:cNvPr id="9" name="Ink 8">
                <a:extLst>
                  <a:ext uri="{FF2B5EF4-FFF2-40B4-BE49-F238E27FC236}">
                    <a16:creationId xmlns:a16="http://schemas.microsoft.com/office/drawing/2014/main" id="{F3FF9413-CDEF-E32C-1E9D-B0BE7CE87CB2}"/>
                  </a:ext>
                </a:extLst>
              </p14:cNvPr>
              <p14:cNvContentPartPr/>
              <p14:nvPr/>
            </p14:nvContentPartPr>
            <p14:xfrm>
              <a:off x="7479900" y="3611640"/>
              <a:ext cx="2880" cy="29880"/>
            </p14:xfrm>
          </p:contentPart>
        </mc:Choice>
        <mc:Fallback>
          <p:pic>
            <p:nvPicPr>
              <p:cNvPr id="9" name="Ink 8">
                <a:extLst>
                  <a:ext uri="{FF2B5EF4-FFF2-40B4-BE49-F238E27FC236}">
                    <a16:creationId xmlns:a16="http://schemas.microsoft.com/office/drawing/2014/main" id="{F3FF9413-CDEF-E32C-1E9D-B0BE7CE87CB2}"/>
                  </a:ext>
                </a:extLst>
              </p:cNvPr>
              <p:cNvPicPr/>
              <p:nvPr/>
            </p:nvPicPr>
            <p:blipFill>
              <a:blip r:embed="rId9"/>
              <a:stretch>
                <a:fillRect/>
              </a:stretch>
            </p:blipFill>
            <p:spPr>
              <a:xfrm>
                <a:off x="7416900" y="3547872"/>
                <a:ext cx="128520" cy="157052"/>
              </a:xfrm>
              <a:prstGeom prst="rect">
                <a:avLst/>
              </a:prstGeom>
            </p:spPr>
          </p:pic>
        </mc:Fallback>
      </mc:AlternateContent>
    </p:spTree>
    <p:extLst>
      <p:ext uri="{BB962C8B-B14F-4D97-AF65-F5344CB8AC3E}">
        <p14:creationId xmlns:p14="http://schemas.microsoft.com/office/powerpoint/2010/main" val="38105498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2B857-876C-F0D8-9D65-748BB70E3D66}"/>
              </a:ext>
            </a:extLst>
          </p:cNvPr>
          <p:cNvSpPr>
            <a:spLocks noGrp="1"/>
          </p:cNvSpPr>
          <p:nvPr>
            <p:ph type="title"/>
          </p:nvPr>
        </p:nvSpPr>
        <p:spPr/>
        <p:txBody>
          <a:bodyPr/>
          <a:lstStyle/>
          <a:p>
            <a:r>
              <a:rPr lang="fr-BE" dirty="0" err="1"/>
              <a:t>Feature</a:t>
            </a:r>
            <a:r>
              <a:rPr lang="fr-BE" dirty="0"/>
              <a:t> importance Lufthansa usa (</a:t>
            </a:r>
            <a:r>
              <a:rPr lang="fr-BE" dirty="0" err="1"/>
              <a:t>continued</a:t>
            </a:r>
            <a:r>
              <a:rPr lang="fr-BE" dirty="0"/>
              <a:t>)</a:t>
            </a:r>
            <a:endParaRPr lang="en-BE" dirty="0"/>
          </a:p>
        </p:txBody>
      </p:sp>
      <p:pic>
        <p:nvPicPr>
          <p:cNvPr id="5" name="Picture 4">
            <a:extLst>
              <a:ext uri="{FF2B5EF4-FFF2-40B4-BE49-F238E27FC236}">
                <a16:creationId xmlns:a16="http://schemas.microsoft.com/office/drawing/2014/main" id="{EF3087FB-555D-542A-9096-48552CA9FDF9}"/>
              </a:ext>
            </a:extLst>
          </p:cNvPr>
          <p:cNvPicPr>
            <a:picLocks noChangeAspect="1"/>
          </p:cNvPicPr>
          <p:nvPr/>
        </p:nvPicPr>
        <p:blipFill rotWithShape="1">
          <a:blip r:embed="rId2"/>
          <a:srcRect l="44696" r="-1"/>
          <a:stretch/>
        </p:blipFill>
        <p:spPr>
          <a:xfrm>
            <a:off x="127313" y="846558"/>
            <a:ext cx="8889374" cy="3957706"/>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CFE2A2B1-4407-F0F1-1C04-DD86371D065B}"/>
                  </a:ext>
                </a:extLst>
              </p14:cNvPr>
              <p14:cNvContentPartPr/>
              <p14:nvPr/>
            </p14:nvContentPartPr>
            <p14:xfrm>
              <a:off x="309074" y="857908"/>
              <a:ext cx="360" cy="360"/>
            </p14:xfrm>
          </p:contentPart>
        </mc:Choice>
        <mc:Fallback>
          <p:pic>
            <p:nvPicPr>
              <p:cNvPr id="3" name="Ink 2">
                <a:extLst>
                  <a:ext uri="{FF2B5EF4-FFF2-40B4-BE49-F238E27FC236}">
                    <a16:creationId xmlns:a16="http://schemas.microsoft.com/office/drawing/2014/main" id="{CFE2A2B1-4407-F0F1-1C04-DD86371D065B}"/>
                  </a:ext>
                </a:extLst>
              </p:cNvPr>
              <p:cNvPicPr/>
              <p:nvPr/>
            </p:nvPicPr>
            <p:blipFill>
              <a:blip r:embed="rId4"/>
              <a:stretch>
                <a:fillRect/>
              </a:stretch>
            </p:blipFill>
            <p:spPr>
              <a:xfrm>
                <a:off x="246434" y="7949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93EFB37C-BC2B-E5E8-C9EC-7EDBD0DE3AE1}"/>
                  </a:ext>
                </a:extLst>
              </p14:cNvPr>
              <p14:cNvContentPartPr/>
              <p14:nvPr/>
            </p14:nvContentPartPr>
            <p14:xfrm>
              <a:off x="72194" y="3535228"/>
              <a:ext cx="226080" cy="382320"/>
            </p14:xfrm>
          </p:contentPart>
        </mc:Choice>
        <mc:Fallback>
          <p:pic>
            <p:nvPicPr>
              <p:cNvPr id="4" name="Ink 3">
                <a:extLst>
                  <a:ext uri="{FF2B5EF4-FFF2-40B4-BE49-F238E27FC236}">
                    <a16:creationId xmlns:a16="http://schemas.microsoft.com/office/drawing/2014/main" id="{93EFB37C-BC2B-E5E8-C9EC-7EDBD0DE3AE1}"/>
                  </a:ext>
                </a:extLst>
              </p:cNvPr>
              <p:cNvPicPr/>
              <p:nvPr/>
            </p:nvPicPr>
            <p:blipFill>
              <a:blip r:embed="rId6"/>
              <a:stretch>
                <a:fillRect/>
              </a:stretch>
            </p:blipFill>
            <p:spPr>
              <a:xfrm>
                <a:off x="9554" y="3472228"/>
                <a:ext cx="351720" cy="507960"/>
              </a:xfrm>
              <a:prstGeom prst="rect">
                <a:avLst/>
              </a:prstGeom>
            </p:spPr>
          </p:pic>
        </mc:Fallback>
      </mc:AlternateContent>
    </p:spTree>
    <p:extLst>
      <p:ext uri="{BB962C8B-B14F-4D97-AF65-F5344CB8AC3E}">
        <p14:creationId xmlns:p14="http://schemas.microsoft.com/office/powerpoint/2010/main" val="37053595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2B857-876C-F0D8-9D65-748BB70E3D66}"/>
              </a:ext>
            </a:extLst>
          </p:cNvPr>
          <p:cNvSpPr>
            <a:spLocks noGrp="1"/>
          </p:cNvSpPr>
          <p:nvPr>
            <p:ph type="title"/>
          </p:nvPr>
        </p:nvSpPr>
        <p:spPr/>
        <p:txBody>
          <a:bodyPr/>
          <a:lstStyle/>
          <a:p>
            <a:r>
              <a:rPr lang="fr-BE" err="1"/>
              <a:t>Feature</a:t>
            </a:r>
            <a:r>
              <a:rPr lang="fr-BE"/>
              <a:t> importance Singapore air</a:t>
            </a:r>
            <a:endParaRPr lang="en-BE"/>
          </a:p>
        </p:txBody>
      </p:sp>
      <p:pic>
        <p:nvPicPr>
          <p:cNvPr id="5" name="Picture 4">
            <a:extLst>
              <a:ext uri="{FF2B5EF4-FFF2-40B4-BE49-F238E27FC236}">
                <a16:creationId xmlns:a16="http://schemas.microsoft.com/office/drawing/2014/main" id="{D2D36429-87C6-AD6B-B741-D363520A1A58}"/>
              </a:ext>
            </a:extLst>
          </p:cNvPr>
          <p:cNvPicPr>
            <a:picLocks noChangeAspect="1"/>
          </p:cNvPicPr>
          <p:nvPr/>
        </p:nvPicPr>
        <p:blipFill rotWithShape="1">
          <a:blip r:embed="rId3"/>
          <a:srcRect r="53539"/>
          <a:stretch/>
        </p:blipFill>
        <p:spPr>
          <a:xfrm>
            <a:off x="330591" y="1080220"/>
            <a:ext cx="6998677" cy="3709073"/>
          </a:xfrm>
          <a:prstGeom prst="rect">
            <a:avLst/>
          </a:prstGeom>
        </p:spPr>
      </p:pic>
      <mc:AlternateContent xmlns:mc="http://schemas.openxmlformats.org/markup-compatibility/2006">
        <mc:Choice xmlns:p14="http://schemas.microsoft.com/office/powerpoint/2010/main" Requires="p14">
          <p:contentPart p14:bwMode="auto" r:id="rId4">
            <p14:nvContentPartPr>
              <p14:cNvPr id="8" name="Ink 7">
                <a:extLst>
                  <a:ext uri="{FF2B5EF4-FFF2-40B4-BE49-F238E27FC236}">
                    <a16:creationId xmlns:a16="http://schemas.microsoft.com/office/drawing/2014/main" id="{372B5FF4-DA81-78F1-8479-D305153C2D66}"/>
                  </a:ext>
                </a:extLst>
              </p14:cNvPr>
              <p14:cNvContentPartPr/>
              <p14:nvPr/>
            </p14:nvContentPartPr>
            <p14:xfrm>
              <a:off x="7131794" y="4358548"/>
              <a:ext cx="222480" cy="424800"/>
            </p14:xfrm>
          </p:contentPart>
        </mc:Choice>
        <mc:Fallback>
          <p:pic>
            <p:nvPicPr>
              <p:cNvPr id="8" name="Ink 7">
                <a:extLst>
                  <a:ext uri="{FF2B5EF4-FFF2-40B4-BE49-F238E27FC236}">
                    <a16:creationId xmlns:a16="http://schemas.microsoft.com/office/drawing/2014/main" id="{372B5FF4-DA81-78F1-8479-D305153C2D66}"/>
                  </a:ext>
                </a:extLst>
              </p:cNvPr>
              <p:cNvPicPr/>
              <p:nvPr/>
            </p:nvPicPr>
            <p:blipFill>
              <a:blip r:embed="rId5"/>
              <a:stretch>
                <a:fillRect/>
              </a:stretch>
            </p:blipFill>
            <p:spPr>
              <a:xfrm>
                <a:off x="7068794" y="4295548"/>
                <a:ext cx="348120" cy="5504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9" name="Ink 8">
                <a:extLst>
                  <a:ext uri="{FF2B5EF4-FFF2-40B4-BE49-F238E27FC236}">
                    <a16:creationId xmlns:a16="http://schemas.microsoft.com/office/drawing/2014/main" id="{D44815D8-2613-8F06-7403-EBE54389866D}"/>
                  </a:ext>
                </a:extLst>
              </p14:cNvPr>
              <p14:cNvContentPartPr/>
              <p14:nvPr/>
            </p14:nvContentPartPr>
            <p14:xfrm>
              <a:off x="7357154" y="3992788"/>
              <a:ext cx="50760" cy="93960"/>
            </p14:xfrm>
          </p:contentPart>
        </mc:Choice>
        <mc:Fallback>
          <p:pic>
            <p:nvPicPr>
              <p:cNvPr id="9" name="Ink 8">
                <a:extLst>
                  <a:ext uri="{FF2B5EF4-FFF2-40B4-BE49-F238E27FC236}">
                    <a16:creationId xmlns:a16="http://schemas.microsoft.com/office/drawing/2014/main" id="{D44815D8-2613-8F06-7403-EBE54389866D}"/>
                  </a:ext>
                </a:extLst>
              </p:cNvPr>
              <p:cNvPicPr/>
              <p:nvPr/>
            </p:nvPicPr>
            <p:blipFill>
              <a:blip r:embed="rId7"/>
              <a:stretch>
                <a:fillRect/>
              </a:stretch>
            </p:blipFill>
            <p:spPr>
              <a:xfrm>
                <a:off x="7294154" y="3930148"/>
                <a:ext cx="176400" cy="219600"/>
              </a:xfrm>
              <a:prstGeom prst="rect">
                <a:avLst/>
              </a:prstGeom>
            </p:spPr>
          </p:pic>
        </mc:Fallback>
      </mc:AlternateContent>
    </p:spTree>
    <p:extLst>
      <p:ext uri="{BB962C8B-B14F-4D97-AF65-F5344CB8AC3E}">
        <p14:creationId xmlns:p14="http://schemas.microsoft.com/office/powerpoint/2010/main" val="14189021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2B857-876C-F0D8-9D65-748BB70E3D66}"/>
              </a:ext>
            </a:extLst>
          </p:cNvPr>
          <p:cNvSpPr>
            <a:spLocks noGrp="1"/>
          </p:cNvSpPr>
          <p:nvPr>
            <p:ph type="title"/>
          </p:nvPr>
        </p:nvSpPr>
        <p:spPr/>
        <p:txBody>
          <a:bodyPr/>
          <a:lstStyle/>
          <a:p>
            <a:r>
              <a:rPr lang="fr-BE" dirty="0" err="1"/>
              <a:t>Feature</a:t>
            </a:r>
            <a:r>
              <a:rPr lang="fr-BE" dirty="0"/>
              <a:t> importance Singapore air (</a:t>
            </a:r>
            <a:r>
              <a:rPr lang="fr-BE" dirty="0" err="1"/>
              <a:t>continued</a:t>
            </a:r>
            <a:r>
              <a:rPr lang="fr-BE" dirty="0"/>
              <a:t>)</a:t>
            </a:r>
            <a:endParaRPr lang="en-BE" dirty="0"/>
          </a:p>
        </p:txBody>
      </p:sp>
      <p:pic>
        <p:nvPicPr>
          <p:cNvPr id="5" name="Picture 4">
            <a:extLst>
              <a:ext uri="{FF2B5EF4-FFF2-40B4-BE49-F238E27FC236}">
                <a16:creationId xmlns:a16="http://schemas.microsoft.com/office/drawing/2014/main" id="{D2D36429-87C6-AD6B-B741-D363520A1A58}"/>
              </a:ext>
            </a:extLst>
          </p:cNvPr>
          <p:cNvPicPr>
            <a:picLocks noChangeAspect="1"/>
          </p:cNvPicPr>
          <p:nvPr/>
        </p:nvPicPr>
        <p:blipFill rotWithShape="1">
          <a:blip r:embed="rId3"/>
          <a:srcRect l="44769"/>
          <a:stretch/>
        </p:blipFill>
        <p:spPr>
          <a:xfrm>
            <a:off x="682181" y="1192762"/>
            <a:ext cx="7595560" cy="338627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2ED66624-E5EF-979D-20FD-625285512781}"/>
                  </a:ext>
                </a:extLst>
              </p14:cNvPr>
              <p14:cNvContentPartPr/>
              <p14:nvPr/>
            </p14:nvContentPartPr>
            <p14:xfrm>
              <a:off x="203594" y="2194228"/>
              <a:ext cx="360" cy="360"/>
            </p14:xfrm>
          </p:contentPart>
        </mc:Choice>
        <mc:Fallback>
          <p:pic>
            <p:nvPicPr>
              <p:cNvPr id="3" name="Ink 2">
                <a:extLst>
                  <a:ext uri="{FF2B5EF4-FFF2-40B4-BE49-F238E27FC236}">
                    <a16:creationId xmlns:a16="http://schemas.microsoft.com/office/drawing/2014/main" id="{2ED66624-E5EF-979D-20FD-625285512781}"/>
                  </a:ext>
                </a:extLst>
              </p:cNvPr>
              <p:cNvPicPr/>
              <p:nvPr/>
            </p:nvPicPr>
            <p:blipFill>
              <a:blip r:embed="rId5"/>
              <a:stretch>
                <a:fillRect/>
              </a:stretch>
            </p:blipFill>
            <p:spPr>
              <a:xfrm>
                <a:off x="140594" y="2131228"/>
                <a:ext cx="126000" cy="126000"/>
              </a:xfrm>
              <a:prstGeom prst="rect">
                <a:avLst/>
              </a:prstGeom>
            </p:spPr>
          </p:pic>
        </mc:Fallback>
      </mc:AlternateContent>
      <p:grpSp>
        <p:nvGrpSpPr>
          <p:cNvPr id="14" name="Group 13">
            <a:extLst>
              <a:ext uri="{FF2B5EF4-FFF2-40B4-BE49-F238E27FC236}">
                <a16:creationId xmlns:a16="http://schemas.microsoft.com/office/drawing/2014/main" id="{ED13B1CE-7BBA-5750-355C-166104DDF11F}"/>
              </a:ext>
            </a:extLst>
          </p:cNvPr>
          <p:cNvGrpSpPr/>
          <p:nvPr/>
        </p:nvGrpSpPr>
        <p:grpSpPr>
          <a:xfrm>
            <a:off x="620834" y="3502468"/>
            <a:ext cx="138960" cy="315360"/>
            <a:chOff x="620834" y="3502468"/>
            <a:chExt cx="138960" cy="315360"/>
          </a:xfrm>
        </p:grpSpPr>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3F4E8BA6-B935-0FA1-5111-CE1BA4D77667}"/>
                    </a:ext>
                  </a:extLst>
                </p14:cNvPr>
                <p14:cNvContentPartPr/>
                <p14:nvPr/>
              </p14:nvContentPartPr>
              <p14:xfrm>
                <a:off x="620834" y="3502468"/>
                <a:ext cx="122400" cy="315360"/>
              </p14:xfrm>
            </p:contentPart>
          </mc:Choice>
          <mc:Fallback>
            <p:pic>
              <p:nvPicPr>
                <p:cNvPr id="7" name="Ink 6">
                  <a:extLst>
                    <a:ext uri="{FF2B5EF4-FFF2-40B4-BE49-F238E27FC236}">
                      <a16:creationId xmlns:a16="http://schemas.microsoft.com/office/drawing/2014/main" id="{3F4E8BA6-B935-0FA1-5111-CE1BA4D77667}"/>
                    </a:ext>
                  </a:extLst>
                </p:cNvPr>
                <p:cNvPicPr/>
                <p:nvPr/>
              </p:nvPicPr>
              <p:blipFill>
                <a:blip r:embed="rId7"/>
                <a:stretch>
                  <a:fillRect/>
                </a:stretch>
              </p:blipFill>
              <p:spPr>
                <a:xfrm>
                  <a:off x="558194" y="3439468"/>
                  <a:ext cx="248040" cy="441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8" name="Ink 7">
                  <a:extLst>
                    <a:ext uri="{FF2B5EF4-FFF2-40B4-BE49-F238E27FC236}">
                      <a16:creationId xmlns:a16="http://schemas.microsoft.com/office/drawing/2014/main" id="{04860E92-538E-3F56-DE3E-AAD08B33BE6E}"/>
                    </a:ext>
                  </a:extLst>
                </p14:cNvPr>
                <p14:cNvContentPartPr/>
                <p14:nvPr/>
              </p14:nvContentPartPr>
              <p14:xfrm>
                <a:off x="752234" y="3671308"/>
                <a:ext cx="360" cy="360"/>
              </p14:xfrm>
            </p:contentPart>
          </mc:Choice>
          <mc:Fallback>
            <p:pic>
              <p:nvPicPr>
                <p:cNvPr id="8" name="Ink 7">
                  <a:extLst>
                    <a:ext uri="{FF2B5EF4-FFF2-40B4-BE49-F238E27FC236}">
                      <a16:creationId xmlns:a16="http://schemas.microsoft.com/office/drawing/2014/main" id="{04860E92-538E-3F56-DE3E-AAD08B33BE6E}"/>
                    </a:ext>
                  </a:extLst>
                </p:cNvPr>
                <p:cNvPicPr/>
                <p:nvPr/>
              </p:nvPicPr>
              <p:blipFill>
                <a:blip r:embed="rId5"/>
                <a:stretch>
                  <a:fillRect/>
                </a:stretch>
              </p:blipFill>
              <p:spPr>
                <a:xfrm>
                  <a:off x="689594" y="36083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9" name="Ink 8">
                  <a:extLst>
                    <a:ext uri="{FF2B5EF4-FFF2-40B4-BE49-F238E27FC236}">
                      <a16:creationId xmlns:a16="http://schemas.microsoft.com/office/drawing/2014/main" id="{6702AD2C-50B8-BF4A-8DD4-EC6DEE49CAB5}"/>
                    </a:ext>
                  </a:extLst>
                </p14:cNvPr>
                <p14:cNvContentPartPr/>
                <p14:nvPr/>
              </p14:nvContentPartPr>
              <p14:xfrm>
                <a:off x="759434" y="3671308"/>
                <a:ext cx="360" cy="360"/>
              </p14:xfrm>
            </p:contentPart>
          </mc:Choice>
          <mc:Fallback>
            <p:pic>
              <p:nvPicPr>
                <p:cNvPr id="9" name="Ink 8">
                  <a:extLst>
                    <a:ext uri="{FF2B5EF4-FFF2-40B4-BE49-F238E27FC236}">
                      <a16:creationId xmlns:a16="http://schemas.microsoft.com/office/drawing/2014/main" id="{6702AD2C-50B8-BF4A-8DD4-EC6DEE49CAB5}"/>
                    </a:ext>
                  </a:extLst>
                </p:cNvPr>
                <p:cNvPicPr/>
                <p:nvPr/>
              </p:nvPicPr>
              <p:blipFill>
                <a:blip r:embed="rId5"/>
                <a:stretch>
                  <a:fillRect/>
                </a:stretch>
              </p:blipFill>
              <p:spPr>
                <a:xfrm>
                  <a:off x="696794" y="36083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0" name="Ink 9">
                  <a:extLst>
                    <a:ext uri="{FF2B5EF4-FFF2-40B4-BE49-F238E27FC236}">
                      <a16:creationId xmlns:a16="http://schemas.microsoft.com/office/drawing/2014/main" id="{FC00F0C9-1BCD-98C1-353C-D99033CBCCB3}"/>
                    </a:ext>
                  </a:extLst>
                </p14:cNvPr>
                <p14:cNvContentPartPr/>
                <p14:nvPr/>
              </p14:nvContentPartPr>
              <p14:xfrm>
                <a:off x="745394" y="3678508"/>
                <a:ext cx="360" cy="360"/>
              </p14:xfrm>
            </p:contentPart>
          </mc:Choice>
          <mc:Fallback>
            <p:pic>
              <p:nvPicPr>
                <p:cNvPr id="10" name="Ink 9">
                  <a:extLst>
                    <a:ext uri="{FF2B5EF4-FFF2-40B4-BE49-F238E27FC236}">
                      <a16:creationId xmlns:a16="http://schemas.microsoft.com/office/drawing/2014/main" id="{FC00F0C9-1BCD-98C1-353C-D99033CBCCB3}"/>
                    </a:ext>
                  </a:extLst>
                </p:cNvPr>
                <p:cNvPicPr/>
                <p:nvPr/>
              </p:nvPicPr>
              <p:blipFill>
                <a:blip r:embed="rId5"/>
                <a:stretch>
                  <a:fillRect/>
                </a:stretch>
              </p:blipFill>
              <p:spPr>
                <a:xfrm>
                  <a:off x="682394" y="36155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1" name="Ink 10">
                  <a:extLst>
                    <a:ext uri="{FF2B5EF4-FFF2-40B4-BE49-F238E27FC236}">
                      <a16:creationId xmlns:a16="http://schemas.microsoft.com/office/drawing/2014/main" id="{70A640E4-59DB-B103-7D37-6A834209A2FA}"/>
                    </a:ext>
                  </a:extLst>
                </p14:cNvPr>
                <p14:cNvContentPartPr/>
                <p14:nvPr/>
              </p14:nvContentPartPr>
              <p14:xfrm>
                <a:off x="745394" y="3678508"/>
                <a:ext cx="360" cy="360"/>
              </p14:xfrm>
            </p:contentPart>
          </mc:Choice>
          <mc:Fallback>
            <p:pic>
              <p:nvPicPr>
                <p:cNvPr id="11" name="Ink 10">
                  <a:extLst>
                    <a:ext uri="{FF2B5EF4-FFF2-40B4-BE49-F238E27FC236}">
                      <a16:creationId xmlns:a16="http://schemas.microsoft.com/office/drawing/2014/main" id="{70A640E4-59DB-B103-7D37-6A834209A2FA}"/>
                    </a:ext>
                  </a:extLst>
                </p:cNvPr>
                <p:cNvPicPr/>
                <p:nvPr/>
              </p:nvPicPr>
              <p:blipFill>
                <a:blip r:embed="rId5"/>
                <a:stretch>
                  <a:fillRect/>
                </a:stretch>
              </p:blipFill>
              <p:spPr>
                <a:xfrm>
                  <a:off x="682394" y="36155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2" name="Ink 11">
                  <a:extLst>
                    <a:ext uri="{FF2B5EF4-FFF2-40B4-BE49-F238E27FC236}">
                      <a16:creationId xmlns:a16="http://schemas.microsoft.com/office/drawing/2014/main" id="{8BC5A53C-EA0A-60A9-9F67-188BFFC997FB}"/>
                    </a:ext>
                  </a:extLst>
                </p14:cNvPr>
                <p14:cNvContentPartPr/>
                <p14:nvPr/>
              </p14:nvContentPartPr>
              <p14:xfrm>
                <a:off x="745394" y="3678508"/>
                <a:ext cx="360" cy="360"/>
              </p14:xfrm>
            </p:contentPart>
          </mc:Choice>
          <mc:Fallback>
            <p:pic>
              <p:nvPicPr>
                <p:cNvPr id="12" name="Ink 11">
                  <a:extLst>
                    <a:ext uri="{FF2B5EF4-FFF2-40B4-BE49-F238E27FC236}">
                      <a16:creationId xmlns:a16="http://schemas.microsoft.com/office/drawing/2014/main" id="{8BC5A53C-EA0A-60A9-9F67-188BFFC997FB}"/>
                    </a:ext>
                  </a:extLst>
                </p:cNvPr>
                <p:cNvPicPr/>
                <p:nvPr/>
              </p:nvPicPr>
              <p:blipFill>
                <a:blip r:embed="rId5"/>
                <a:stretch>
                  <a:fillRect/>
                </a:stretch>
              </p:blipFill>
              <p:spPr>
                <a:xfrm>
                  <a:off x="682394" y="3615508"/>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3" name="Ink 12">
                  <a:extLst>
                    <a:ext uri="{FF2B5EF4-FFF2-40B4-BE49-F238E27FC236}">
                      <a16:creationId xmlns:a16="http://schemas.microsoft.com/office/drawing/2014/main" id="{B0BF9B6D-B10E-B3E1-9472-01501AC21EF3}"/>
                    </a:ext>
                  </a:extLst>
                </p14:cNvPr>
                <p14:cNvContentPartPr/>
                <p14:nvPr/>
              </p14:nvContentPartPr>
              <p14:xfrm>
                <a:off x="745394" y="3678508"/>
                <a:ext cx="360" cy="360"/>
              </p14:xfrm>
            </p:contentPart>
          </mc:Choice>
          <mc:Fallback>
            <p:pic>
              <p:nvPicPr>
                <p:cNvPr id="13" name="Ink 12">
                  <a:extLst>
                    <a:ext uri="{FF2B5EF4-FFF2-40B4-BE49-F238E27FC236}">
                      <a16:creationId xmlns:a16="http://schemas.microsoft.com/office/drawing/2014/main" id="{B0BF9B6D-B10E-B3E1-9472-01501AC21EF3}"/>
                    </a:ext>
                  </a:extLst>
                </p:cNvPr>
                <p:cNvPicPr/>
                <p:nvPr/>
              </p:nvPicPr>
              <p:blipFill>
                <a:blip r:embed="rId5"/>
                <a:stretch>
                  <a:fillRect/>
                </a:stretch>
              </p:blipFill>
              <p:spPr>
                <a:xfrm>
                  <a:off x="682394" y="3615508"/>
                  <a:ext cx="126000" cy="126000"/>
                </a:xfrm>
                <a:prstGeom prst="rect">
                  <a:avLst/>
                </a:prstGeom>
              </p:spPr>
            </p:pic>
          </mc:Fallback>
        </mc:AlternateContent>
      </p:grpSp>
    </p:spTree>
    <p:extLst>
      <p:ext uri="{BB962C8B-B14F-4D97-AF65-F5344CB8AC3E}">
        <p14:creationId xmlns:p14="http://schemas.microsoft.com/office/powerpoint/2010/main" val="4072191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1A6E1-52C4-4F9E-6C8E-041D0AD3573C}"/>
              </a:ext>
            </a:extLst>
          </p:cNvPr>
          <p:cNvSpPr>
            <a:spLocks noGrp="1"/>
          </p:cNvSpPr>
          <p:nvPr>
            <p:ph type="title"/>
          </p:nvPr>
        </p:nvSpPr>
        <p:spPr/>
        <p:txBody>
          <a:bodyPr/>
          <a:lstStyle/>
          <a:p>
            <a:r>
              <a:rPr lang="en-GB"/>
              <a:t>Shapley Singapore air</a:t>
            </a:r>
            <a:endParaRPr lang="en-BE"/>
          </a:p>
        </p:txBody>
      </p:sp>
      <p:pic>
        <p:nvPicPr>
          <p:cNvPr id="1028" name="Picture 4">
            <a:extLst>
              <a:ext uri="{FF2B5EF4-FFF2-40B4-BE49-F238E27FC236}">
                <a16:creationId xmlns:a16="http://schemas.microsoft.com/office/drawing/2014/main" id="{54FC4D6F-A29F-B1FF-AA4B-68332399CA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6597" y="776219"/>
            <a:ext cx="3529060" cy="423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9926984"/>
      </p:ext>
    </p:extLst>
  </p:cSld>
  <p:clrMapOvr>
    <a:masterClrMapping/>
  </p:clrMapOvr>
  <p:extLst>
    <p:ext uri="{6950BFC3-D8DA-4A85-94F7-54DA5524770B}">
      <p188:commentRel xmlns:p188="http://schemas.microsoft.com/office/powerpoint/2018/8/main" r:id="rId2"/>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009E6-F9ED-DC5F-E584-FCF4651F9D69}"/>
              </a:ext>
            </a:extLst>
          </p:cNvPr>
          <p:cNvSpPr>
            <a:spLocks noGrp="1"/>
          </p:cNvSpPr>
          <p:nvPr>
            <p:ph type="title"/>
          </p:nvPr>
        </p:nvSpPr>
        <p:spPr/>
        <p:txBody>
          <a:bodyPr/>
          <a:lstStyle/>
          <a:p>
            <a:r>
              <a:rPr lang="fr-BE"/>
              <a:t>Engagement valence</a:t>
            </a:r>
            <a:endParaRPr lang="en-BE"/>
          </a:p>
        </p:txBody>
      </p:sp>
      <p:pic>
        <p:nvPicPr>
          <p:cNvPr id="2050" name="Picture 2">
            <a:extLst>
              <a:ext uri="{FF2B5EF4-FFF2-40B4-BE49-F238E27FC236}">
                <a16:creationId xmlns:a16="http://schemas.microsoft.com/office/drawing/2014/main" id="{305B47A9-A0CC-C233-BC87-5334C9122C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4904" y="1009996"/>
            <a:ext cx="6174191" cy="3589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5175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Instagram post activity: a declining trend</a:t>
            </a:r>
          </a:p>
        </p:txBody>
      </p:sp>
      <p:pic>
        <p:nvPicPr>
          <p:cNvPr id="5" name="Picture 4">
            <a:extLst>
              <a:ext uri="{FF2B5EF4-FFF2-40B4-BE49-F238E27FC236}">
                <a16:creationId xmlns:a16="http://schemas.microsoft.com/office/drawing/2014/main" id="{6E4FD1BA-020F-2141-77AB-70C3C5EEAAFB}"/>
              </a:ext>
            </a:extLst>
          </p:cNvPr>
          <p:cNvPicPr>
            <a:picLocks noChangeAspect="1"/>
          </p:cNvPicPr>
          <p:nvPr/>
        </p:nvPicPr>
        <p:blipFill>
          <a:blip r:embed="rId3"/>
          <a:stretch>
            <a:fillRect/>
          </a:stretch>
        </p:blipFill>
        <p:spPr>
          <a:xfrm>
            <a:off x="6089472" y="3823329"/>
            <a:ext cx="2230684" cy="522961"/>
          </a:xfrm>
          <a:prstGeom prst="rect">
            <a:avLst/>
          </a:prstGeom>
        </p:spPr>
      </p:pic>
      <p:sp>
        <p:nvSpPr>
          <p:cNvPr id="13" name="TextBox 12">
            <a:extLst>
              <a:ext uri="{FF2B5EF4-FFF2-40B4-BE49-F238E27FC236}">
                <a16:creationId xmlns:a16="http://schemas.microsoft.com/office/drawing/2014/main" id="{2337D774-F905-2910-6E22-AA43A83D2104}"/>
              </a:ext>
            </a:extLst>
          </p:cNvPr>
          <p:cNvSpPr txBox="1"/>
          <p:nvPr/>
        </p:nvSpPr>
        <p:spPr>
          <a:xfrm>
            <a:off x="315440" y="1396154"/>
            <a:ext cx="5199241" cy="338554"/>
          </a:xfrm>
          <a:prstGeom prst="rect">
            <a:avLst/>
          </a:prstGeom>
          <a:noFill/>
        </p:spPr>
        <p:txBody>
          <a:bodyPr wrap="square" rtlCol="0">
            <a:spAutoFit/>
          </a:bodyPr>
          <a:lstStyle/>
          <a:p>
            <a:pPr algn="ct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Monthly post evolution</a:t>
            </a:r>
          </a:p>
        </p:txBody>
      </p:sp>
      <p:pic>
        <p:nvPicPr>
          <p:cNvPr id="4" name="Picture 3">
            <a:extLst>
              <a:ext uri="{FF2B5EF4-FFF2-40B4-BE49-F238E27FC236}">
                <a16:creationId xmlns:a16="http://schemas.microsoft.com/office/drawing/2014/main" id="{2AAEA214-7098-6B56-1483-C742C808AD53}"/>
              </a:ext>
            </a:extLst>
          </p:cNvPr>
          <p:cNvPicPr>
            <a:picLocks noChangeAspect="1"/>
          </p:cNvPicPr>
          <p:nvPr/>
        </p:nvPicPr>
        <p:blipFill>
          <a:blip r:embed="rId4"/>
          <a:srcRect/>
          <a:stretch/>
        </p:blipFill>
        <p:spPr>
          <a:xfrm>
            <a:off x="157618" y="2129394"/>
            <a:ext cx="5199240" cy="2042368"/>
          </a:xfrm>
          <a:prstGeom prst="rect">
            <a:avLst/>
          </a:prstGeom>
        </p:spPr>
      </p:pic>
      <p:cxnSp>
        <p:nvCxnSpPr>
          <p:cNvPr id="15" name="Straight Connector 14">
            <a:extLst>
              <a:ext uri="{FF2B5EF4-FFF2-40B4-BE49-F238E27FC236}">
                <a16:creationId xmlns:a16="http://schemas.microsoft.com/office/drawing/2014/main" id="{60316300-8F33-1950-FF82-19F015FA9EB3}"/>
              </a:ext>
            </a:extLst>
          </p:cNvPr>
          <p:cNvCxnSpPr>
            <a:cxnSpLocks/>
          </p:cNvCxnSpPr>
          <p:nvPr/>
        </p:nvCxnSpPr>
        <p:spPr>
          <a:xfrm>
            <a:off x="386883" y="3046919"/>
            <a:ext cx="4775960" cy="2021"/>
          </a:xfrm>
          <a:prstGeom prst="line">
            <a:avLst/>
          </a:prstGeom>
          <a:ln w="6350">
            <a:solidFill>
              <a:schemeClr val="accent6">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AE3A0DE-A8AF-6E72-E26D-1B04B07D9FD2}"/>
              </a:ext>
            </a:extLst>
          </p:cNvPr>
          <p:cNvSpPr txBox="1"/>
          <p:nvPr/>
        </p:nvSpPr>
        <p:spPr>
          <a:xfrm>
            <a:off x="315442" y="2802719"/>
            <a:ext cx="656309" cy="246221"/>
          </a:xfrm>
          <a:prstGeom prst="rect">
            <a:avLst/>
          </a:prstGeom>
          <a:noFill/>
        </p:spPr>
        <p:txBody>
          <a:bodyPr wrap="square" rtlCol="0">
            <a:spAutoFit/>
          </a:bodyPr>
          <a:lstStyle/>
          <a:p>
            <a:r>
              <a:rPr lang="en-GB" sz="1000" b="1">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daily </a:t>
            </a:r>
          </a:p>
        </p:txBody>
      </p:sp>
      <p:sp>
        <p:nvSpPr>
          <p:cNvPr id="25" name="TextBox 24">
            <a:extLst>
              <a:ext uri="{FF2B5EF4-FFF2-40B4-BE49-F238E27FC236}">
                <a16:creationId xmlns:a16="http://schemas.microsoft.com/office/drawing/2014/main" id="{FACDF113-8910-29A7-5E8A-BC9E46D78225}"/>
              </a:ext>
            </a:extLst>
          </p:cNvPr>
          <p:cNvSpPr txBox="1"/>
          <p:nvPr/>
        </p:nvSpPr>
        <p:spPr>
          <a:xfrm>
            <a:off x="4128867" y="2463154"/>
            <a:ext cx="1191891" cy="461665"/>
          </a:xfrm>
          <a:prstGeom prst="rect">
            <a:avLst/>
          </a:prstGeom>
          <a:noFill/>
        </p:spPr>
        <p:txBody>
          <a:bodyPr wrap="square" rtlCol="0">
            <a:spAutoFit/>
          </a:bodyPr>
          <a:lstStyle/>
          <a:p>
            <a:pPr algn="ctr"/>
            <a:r>
              <a:rPr lang="en-GB" sz="1200" b="1">
                <a:solidFill>
                  <a:srgbClr val="C00000"/>
                </a:solidFill>
                <a:latin typeface="Tahoma" panose="020B0604030504040204" pitchFamily="34" charset="0"/>
                <a:ea typeface="Tahoma" panose="020B0604030504040204" pitchFamily="34" charset="0"/>
                <a:cs typeface="Tahoma" panose="020B0604030504040204" pitchFamily="34" charset="0"/>
              </a:rPr>
              <a:t>Decreasing post activity</a:t>
            </a:r>
          </a:p>
        </p:txBody>
      </p:sp>
      <p:grpSp>
        <p:nvGrpSpPr>
          <p:cNvPr id="19" name="Group 18">
            <a:extLst>
              <a:ext uri="{FF2B5EF4-FFF2-40B4-BE49-F238E27FC236}">
                <a16:creationId xmlns:a16="http://schemas.microsoft.com/office/drawing/2014/main" id="{54A93F39-259E-5721-38F5-5F64F07F222D}"/>
              </a:ext>
            </a:extLst>
          </p:cNvPr>
          <p:cNvGrpSpPr/>
          <p:nvPr/>
        </p:nvGrpSpPr>
        <p:grpSpPr>
          <a:xfrm>
            <a:off x="422772" y="2198992"/>
            <a:ext cx="811821" cy="446791"/>
            <a:chOff x="742659" y="1687184"/>
            <a:chExt cx="811821" cy="446791"/>
          </a:xfrm>
        </p:grpSpPr>
        <p:pic>
          <p:nvPicPr>
            <p:cNvPr id="16" name="Picture 15" descr="A logo on a black background&#10;&#10;Description automatically generated">
              <a:extLst>
                <a:ext uri="{FF2B5EF4-FFF2-40B4-BE49-F238E27FC236}">
                  <a16:creationId xmlns:a16="http://schemas.microsoft.com/office/drawing/2014/main" id="{505CB689-6F3C-B94A-B1F6-A5FF16F52A83}"/>
                </a:ext>
              </a:extLst>
            </p:cNvPr>
            <p:cNvPicPr>
              <a:picLocks noChangeAspect="1"/>
            </p:cNvPicPr>
            <p:nvPr/>
          </p:nvPicPr>
          <p:blipFill rotWithShape="1">
            <a:blip r:embed="rId5"/>
            <a:srcRect l="10596" t="38994" r="10322" b="39251"/>
            <a:stretch/>
          </p:blipFill>
          <p:spPr>
            <a:xfrm>
              <a:off x="742659" y="1753994"/>
              <a:ext cx="556461" cy="102050"/>
            </a:xfrm>
            <a:prstGeom prst="rect">
              <a:avLst/>
            </a:prstGeom>
          </p:spPr>
        </p:pic>
        <p:pic>
          <p:nvPicPr>
            <p:cNvPr id="17" name="Picture 16" descr="A logo with blue and yellow stripes&#10;&#10;Description automatically generated">
              <a:extLst>
                <a:ext uri="{FF2B5EF4-FFF2-40B4-BE49-F238E27FC236}">
                  <a16:creationId xmlns:a16="http://schemas.microsoft.com/office/drawing/2014/main" id="{1B3D7764-1D43-C860-B968-FF0570483BE5}"/>
                </a:ext>
              </a:extLst>
            </p:cNvPr>
            <p:cNvPicPr>
              <a:picLocks noChangeAspect="1"/>
            </p:cNvPicPr>
            <p:nvPr/>
          </p:nvPicPr>
          <p:blipFill rotWithShape="1">
            <a:blip r:embed="rId6"/>
            <a:srcRect t="15551" b="16865"/>
            <a:stretch/>
          </p:blipFill>
          <p:spPr>
            <a:xfrm>
              <a:off x="742660" y="1856044"/>
              <a:ext cx="564142" cy="239831"/>
            </a:xfrm>
            <a:prstGeom prst="rect">
              <a:avLst/>
            </a:prstGeom>
          </p:spPr>
        </p:pic>
        <p:pic>
          <p:nvPicPr>
            <p:cNvPr id="18" name="Picture 17">
              <a:extLst>
                <a:ext uri="{FF2B5EF4-FFF2-40B4-BE49-F238E27FC236}">
                  <a16:creationId xmlns:a16="http://schemas.microsoft.com/office/drawing/2014/main" id="{7CD2E870-7095-C12B-E8AD-2A4E3360F1D5}"/>
                </a:ext>
              </a:extLst>
            </p:cNvPr>
            <p:cNvPicPr>
              <a:picLocks noChangeAspect="1"/>
            </p:cNvPicPr>
            <p:nvPr/>
          </p:nvPicPr>
          <p:blipFill>
            <a:blip r:embed="rId7"/>
            <a:stretch>
              <a:fillRect/>
            </a:stretch>
          </p:blipFill>
          <p:spPr>
            <a:xfrm>
              <a:off x="1306802" y="1687184"/>
              <a:ext cx="247678" cy="446791"/>
            </a:xfrm>
            <a:prstGeom prst="rect">
              <a:avLst/>
            </a:prstGeom>
          </p:spPr>
        </p:pic>
      </p:grpSp>
      <p:sp>
        <p:nvSpPr>
          <p:cNvPr id="33" name="TextBox 32">
            <a:extLst>
              <a:ext uri="{FF2B5EF4-FFF2-40B4-BE49-F238E27FC236}">
                <a16:creationId xmlns:a16="http://schemas.microsoft.com/office/drawing/2014/main" id="{0F1B2AF6-7A5A-53D8-7712-4A7485D98604}"/>
              </a:ext>
            </a:extLst>
          </p:cNvPr>
          <p:cNvSpPr txBox="1"/>
          <p:nvPr/>
        </p:nvSpPr>
        <p:spPr>
          <a:xfrm>
            <a:off x="5652515" y="1181188"/>
            <a:ext cx="3104598" cy="338554"/>
          </a:xfrm>
          <a:prstGeom prst="rect">
            <a:avLst/>
          </a:prstGeom>
          <a:noFill/>
        </p:spPr>
        <p:txBody>
          <a:bodyPr wrap="square" rtlCol="0">
            <a:spAutoFit/>
          </a:bodyPr>
          <a:lstStyle/>
          <a:p>
            <a:pPr algn="ctr"/>
            <a:r>
              <a:rPr lang="en-GB" sz="1600" b="1">
                <a:solidFill>
                  <a:srgbClr val="242F58"/>
                </a:solidFill>
                <a:latin typeface="Tahoma" panose="020B0604030504040204" pitchFamily="34" charset="0"/>
                <a:ea typeface="Tahoma" panose="020B0604030504040204" pitchFamily="34" charset="0"/>
                <a:cs typeface="Tahoma" panose="020B0604030504040204" pitchFamily="34" charset="0"/>
              </a:rPr>
              <a:t>Macro factors</a:t>
            </a:r>
          </a:p>
        </p:txBody>
      </p:sp>
      <p:sp>
        <p:nvSpPr>
          <p:cNvPr id="36" name="TextBox 35">
            <a:extLst>
              <a:ext uri="{FF2B5EF4-FFF2-40B4-BE49-F238E27FC236}">
                <a16:creationId xmlns:a16="http://schemas.microsoft.com/office/drawing/2014/main" id="{E3004E10-C036-FBF9-9973-2A33E7C6EA79}"/>
              </a:ext>
            </a:extLst>
          </p:cNvPr>
          <p:cNvSpPr txBox="1"/>
          <p:nvPr/>
        </p:nvSpPr>
        <p:spPr>
          <a:xfrm>
            <a:off x="5514684" y="1519612"/>
            <a:ext cx="3380261" cy="415498"/>
          </a:xfrm>
          <a:prstGeom prst="rect">
            <a:avLst/>
          </a:prstGeom>
          <a:noFill/>
        </p:spPr>
        <p:txBody>
          <a:bodyPr wrap="square" rtlCol="0">
            <a:spAutoFit/>
          </a:bodyPr>
          <a:lstStyle/>
          <a:p>
            <a:pPr algn="ctr"/>
            <a:r>
              <a:rPr lang="en-GB" sz="1050" b="1">
                <a:solidFill>
                  <a:srgbClr val="242F58"/>
                </a:solidFill>
                <a:latin typeface="Tahoma" panose="020B0604030504040204" pitchFamily="34" charset="0"/>
                <a:ea typeface="Tahoma" panose="020B0604030504040204" pitchFamily="34" charset="0"/>
                <a:cs typeface="Tahoma" panose="020B0604030504040204" pitchFamily="34" charset="0"/>
              </a:rPr>
              <a:t>A shift in preference towards</a:t>
            </a:r>
          </a:p>
          <a:p>
            <a:pPr algn="ctr"/>
            <a:r>
              <a:rPr lang="en-GB" sz="1050" b="1">
                <a:solidFill>
                  <a:srgbClr val="242F58"/>
                </a:solidFill>
                <a:latin typeface="Tahoma" panose="020B0604030504040204" pitchFamily="34" charset="0"/>
                <a:ea typeface="Tahoma" panose="020B0604030504040204" pitchFamily="34" charset="0"/>
                <a:cs typeface="Tahoma" panose="020B0604030504040204" pitchFamily="34" charset="0"/>
              </a:rPr>
              <a:t>shorter, more personal video content</a:t>
            </a:r>
          </a:p>
        </p:txBody>
      </p:sp>
      <p:cxnSp>
        <p:nvCxnSpPr>
          <p:cNvPr id="6" name="Straight Connector 5">
            <a:extLst>
              <a:ext uri="{FF2B5EF4-FFF2-40B4-BE49-F238E27FC236}">
                <a16:creationId xmlns:a16="http://schemas.microsoft.com/office/drawing/2014/main" id="{9FB0BC42-41AA-8B8B-B063-C3B017C4C948}"/>
              </a:ext>
            </a:extLst>
          </p:cNvPr>
          <p:cNvCxnSpPr/>
          <p:nvPr/>
        </p:nvCxnSpPr>
        <p:spPr>
          <a:xfrm flipV="1">
            <a:off x="4128867" y="2430628"/>
            <a:ext cx="0" cy="1392701"/>
          </a:xfrm>
          <a:prstGeom prst="line">
            <a:avLst/>
          </a:prstGeom>
          <a:ln w="12700">
            <a:solidFill>
              <a:srgbClr val="C00000"/>
            </a:solidFill>
            <a:prstDash val="lgDash"/>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BC801D8-FE43-7FDA-B122-29A255762B95}"/>
              </a:ext>
            </a:extLst>
          </p:cNvPr>
          <p:cNvPicPr>
            <a:picLocks noChangeAspect="1"/>
          </p:cNvPicPr>
          <p:nvPr/>
        </p:nvPicPr>
        <p:blipFill rotWithShape="1">
          <a:blip r:embed="rId8"/>
          <a:srcRect l="673" r="673"/>
          <a:stretch/>
        </p:blipFill>
        <p:spPr>
          <a:xfrm>
            <a:off x="5826458" y="3241667"/>
            <a:ext cx="2597542" cy="457620"/>
          </a:xfrm>
          <a:prstGeom prst="rect">
            <a:avLst/>
          </a:prstGeom>
        </p:spPr>
      </p:pic>
      <p:grpSp>
        <p:nvGrpSpPr>
          <p:cNvPr id="22" name="Group 21">
            <a:extLst>
              <a:ext uri="{FF2B5EF4-FFF2-40B4-BE49-F238E27FC236}">
                <a16:creationId xmlns:a16="http://schemas.microsoft.com/office/drawing/2014/main" id="{E6BC7376-9455-D374-13A6-E78D5FE35922}"/>
              </a:ext>
            </a:extLst>
          </p:cNvPr>
          <p:cNvGrpSpPr/>
          <p:nvPr/>
        </p:nvGrpSpPr>
        <p:grpSpPr>
          <a:xfrm>
            <a:off x="5584737" y="1968062"/>
            <a:ext cx="3080983" cy="1149563"/>
            <a:chOff x="5664322" y="2463153"/>
            <a:chExt cx="3080983" cy="1149563"/>
          </a:xfrm>
        </p:grpSpPr>
        <p:pic>
          <p:nvPicPr>
            <p:cNvPr id="1026" name="Picture 2">
              <a:extLst>
                <a:ext uri="{FF2B5EF4-FFF2-40B4-BE49-F238E27FC236}">
                  <a16:creationId xmlns:a16="http://schemas.microsoft.com/office/drawing/2014/main" id="{884A17F5-A560-32FA-9974-0A90058D040E}"/>
                </a:ext>
              </a:extLst>
            </p:cNvPr>
            <p:cNvPicPr>
              <a:picLocks noChangeAspect="1" noChangeArrowheads="1"/>
            </p:cNvPicPr>
            <p:nvPr/>
          </p:nvPicPr>
          <p:blipFill rotWithShape="1">
            <a:blip r:embed="rId9"/>
            <a:srcRect b="22076"/>
            <a:stretch/>
          </p:blipFill>
          <p:spPr bwMode="auto">
            <a:xfrm>
              <a:off x="5664322" y="2463153"/>
              <a:ext cx="3080983" cy="114956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F0162222-5C1F-5657-9927-97AA37724ECE}"/>
                </a:ext>
              </a:extLst>
            </p:cNvPr>
            <p:cNvPicPr>
              <a:picLocks noChangeAspect="1"/>
            </p:cNvPicPr>
            <p:nvPr/>
          </p:nvPicPr>
          <p:blipFill>
            <a:blip r:embed="rId10"/>
            <a:stretch>
              <a:fillRect/>
            </a:stretch>
          </p:blipFill>
          <p:spPr>
            <a:xfrm>
              <a:off x="6030773" y="2496266"/>
              <a:ext cx="2348080" cy="244425"/>
            </a:xfrm>
            <a:prstGeom prst="rect">
              <a:avLst/>
            </a:prstGeom>
          </p:spPr>
        </p:pic>
      </p:grpSp>
      <p:grpSp>
        <p:nvGrpSpPr>
          <p:cNvPr id="14" name="Group 13">
            <a:extLst>
              <a:ext uri="{FF2B5EF4-FFF2-40B4-BE49-F238E27FC236}">
                <a16:creationId xmlns:a16="http://schemas.microsoft.com/office/drawing/2014/main" id="{6457C9EC-2C94-14A6-1303-DB3FC5C19CB3}"/>
              </a:ext>
            </a:extLst>
          </p:cNvPr>
          <p:cNvGrpSpPr/>
          <p:nvPr/>
        </p:nvGrpSpPr>
        <p:grpSpPr>
          <a:xfrm>
            <a:off x="8407295" y="21102"/>
            <a:ext cx="871964" cy="503882"/>
            <a:chOff x="8285465" y="129092"/>
            <a:chExt cx="871964" cy="503882"/>
          </a:xfrm>
        </p:grpSpPr>
        <p:sp>
          <p:nvSpPr>
            <p:cNvPr id="23" name="Google Shape;3967;p40">
              <a:extLst>
                <a:ext uri="{FF2B5EF4-FFF2-40B4-BE49-F238E27FC236}">
                  <a16:creationId xmlns:a16="http://schemas.microsoft.com/office/drawing/2014/main" id="{5B1C7ADE-E375-17F4-F343-17134B942EB7}"/>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General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24" name="Graphic 23">
              <a:extLst>
                <a:ext uri="{FF2B5EF4-FFF2-40B4-BE49-F238E27FC236}">
                  <a16:creationId xmlns:a16="http://schemas.microsoft.com/office/drawing/2014/main" id="{F78CD638-4F20-C6CD-3DC2-74BE9301C171}"/>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546107" y="129092"/>
              <a:ext cx="378816" cy="235866"/>
            </a:xfrm>
            <a:prstGeom prst="rect">
              <a:avLst/>
            </a:prstGeom>
          </p:spPr>
        </p:pic>
      </p:grpSp>
      <p:sp>
        <p:nvSpPr>
          <p:cNvPr id="3" name="TextBox 2">
            <a:extLst>
              <a:ext uri="{FF2B5EF4-FFF2-40B4-BE49-F238E27FC236}">
                <a16:creationId xmlns:a16="http://schemas.microsoft.com/office/drawing/2014/main" id="{724B200C-7449-385D-284A-3832B0761040}"/>
              </a:ext>
            </a:extLst>
          </p:cNvPr>
          <p:cNvSpPr txBox="1"/>
          <p:nvPr/>
        </p:nvSpPr>
        <p:spPr>
          <a:xfrm rot="16200000">
            <a:off x="-463177" y="2879577"/>
            <a:ext cx="1151815" cy="253916"/>
          </a:xfrm>
          <a:prstGeom prst="rect">
            <a:avLst/>
          </a:prstGeom>
          <a:noFill/>
        </p:spPr>
        <p:txBody>
          <a:bodyPr wrap="square" rtlCol="0">
            <a:spAutoFit/>
          </a:bodyPr>
          <a:lstStyle/>
          <a:p>
            <a:r>
              <a:rPr lang="en-GB" sz="1050">
                <a:solidFill>
                  <a:srgbClr val="494949"/>
                </a:solidFill>
                <a:latin typeface="Tahoma" panose="020B0604030504040204" pitchFamily="34" charset="0"/>
                <a:ea typeface="Tahoma" panose="020B0604030504040204" pitchFamily="34" charset="0"/>
                <a:cs typeface="Tahoma" panose="020B0604030504040204" pitchFamily="34" charset="0"/>
              </a:rPr>
              <a:t>Posts per month</a:t>
            </a:r>
          </a:p>
        </p:txBody>
      </p:sp>
    </p:spTree>
    <p:extLst>
      <p:ext uri="{BB962C8B-B14F-4D97-AF65-F5344CB8AC3E}">
        <p14:creationId xmlns:p14="http://schemas.microsoft.com/office/powerpoint/2010/main" val="56504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15"/>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5" grpId="0"/>
      <p:bldP spid="33" grpId="0"/>
      <p:bldP spid="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024B61B-4DEF-590E-6C1E-E3A2EF71E4AE}"/>
              </a:ext>
            </a:extLst>
          </p:cNvPr>
          <p:cNvPicPr>
            <a:picLocks noChangeAspect="1"/>
          </p:cNvPicPr>
          <p:nvPr/>
        </p:nvPicPr>
        <p:blipFill>
          <a:blip r:embed="rId3"/>
          <a:srcRect/>
          <a:stretch/>
        </p:blipFill>
        <p:spPr>
          <a:xfrm>
            <a:off x="203677" y="2830207"/>
            <a:ext cx="4168119" cy="1837043"/>
          </a:xfrm>
          <a:prstGeom prst="rect">
            <a:avLst/>
          </a:prstGeom>
        </p:spPr>
      </p:pic>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What about engagement?</a:t>
            </a:r>
          </a:p>
        </p:txBody>
      </p:sp>
      <p:sp>
        <p:nvSpPr>
          <p:cNvPr id="7" name="TextBox 6">
            <a:extLst>
              <a:ext uri="{FF2B5EF4-FFF2-40B4-BE49-F238E27FC236}">
                <a16:creationId xmlns:a16="http://schemas.microsoft.com/office/drawing/2014/main" id="{717DC9A9-9523-3BAB-501C-B0CCE8618F88}"/>
              </a:ext>
            </a:extLst>
          </p:cNvPr>
          <p:cNvSpPr txBox="1"/>
          <p:nvPr/>
        </p:nvSpPr>
        <p:spPr>
          <a:xfrm>
            <a:off x="0" y="4804946"/>
            <a:ext cx="3694201" cy="338554"/>
          </a:xfrm>
          <a:prstGeom prst="rect">
            <a:avLst/>
          </a:prstGeom>
          <a:noFill/>
        </p:spPr>
        <p:txBody>
          <a:bodyPr wrap="square" rtlCol="0">
            <a:spAutoFit/>
          </a:bodyPr>
          <a:lstStyle/>
          <a:p>
            <a:r>
              <a:rPr lang="en-GB" sz="800" baseline="300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1</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Based on what is commonly found in literature</a:t>
            </a:r>
          </a:p>
          <a:p>
            <a:r>
              <a:rPr lang="en-GB" sz="800" baseline="300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2</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Sources are appended in the </a:t>
            </a:r>
            <a:r>
              <a:rPr lang="en-GB" sz="800" i="1">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references</a:t>
            </a:r>
            <a:r>
              <a:rPr lang="en-GB" sz="80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slide</a:t>
            </a:r>
          </a:p>
        </p:txBody>
      </p:sp>
      <p:grpSp>
        <p:nvGrpSpPr>
          <p:cNvPr id="17" name="Group 16">
            <a:extLst>
              <a:ext uri="{FF2B5EF4-FFF2-40B4-BE49-F238E27FC236}">
                <a16:creationId xmlns:a16="http://schemas.microsoft.com/office/drawing/2014/main" id="{713118C6-851A-C886-E1B4-50AD91F45F89}"/>
              </a:ext>
            </a:extLst>
          </p:cNvPr>
          <p:cNvGrpSpPr/>
          <p:nvPr/>
        </p:nvGrpSpPr>
        <p:grpSpPr>
          <a:xfrm>
            <a:off x="137160" y="1056235"/>
            <a:ext cx="4534126" cy="1292662"/>
            <a:chOff x="216265" y="1250891"/>
            <a:chExt cx="5109696" cy="1292662"/>
          </a:xfrm>
        </p:grpSpPr>
        <p:sp>
          <p:nvSpPr>
            <p:cNvPr id="3" name="TextBox 2">
              <a:extLst>
                <a:ext uri="{FF2B5EF4-FFF2-40B4-BE49-F238E27FC236}">
                  <a16:creationId xmlns:a16="http://schemas.microsoft.com/office/drawing/2014/main" id="{F5158626-8745-E184-9D54-970CB52FF863}"/>
                </a:ext>
              </a:extLst>
            </p:cNvPr>
            <p:cNvSpPr txBox="1"/>
            <p:nvPr/>
          </p:nvSpPr>
          <p:spPr>
            <a:xfrm>
              <a:off x="216265" y="1250891"/>
              <a:ext cx="5109696" cy="1292662"/>
            </a:xfrm>
            <a:prstGeom prst="rect">
              <a:avLst/>
            </a:prstGeom>
            <a:noFill/>
          </p:spPr>
          <p:txBody>
            <a:bodyPr wrap="square" rtlCol="0">
              <a:spAutoFit/>
            </a:bodyPr>
            <a:lstStyle/>
            <a:p>
              <a:pPr algn="ctr"/>
              <a:r>
                <a:rPr lang="en-GB" sz="1800" b="1">
                  <a:solidFill>
                    <a:srgbClr val="242F58"/>
                  </a:solidFill>
                  <a:latin typeface="Tahoma" panose="020B0604030504040204" pitchFamily="34" charset="0"/>
                  <a:ea typeface="Tahoma" panose="020B0604030504040204" pitchFamily="34" charset="0"/>
                  <a:cs typeface="Tahoma" panose="020B0604030504040204" pitchFamily="34" charset="0"/>
                </a:rPr>
                <a:t>Definition</a:t>
              </a:r>
              <a:r>
                <a:rPr lang="en-GB" sz="1800" b="1" baseline="30000">
                  <a:solidFill>
                    <a:srgbClr val="242F58"/>
                  </a:solidFill>
                  <a:latin typeface="Tahoma" panose="020B0604030504040204" pitchFamily="34" charset="0"/>
                  <a:ea typeface="Tahoma" panose="020B0604030504040204" pitchFamily="34" charset="0"/>
                  <a:cs typeface="Tahoma" panose="020B0604030504040204" pitchFamily="34" charset="0"/>
                </a:rPr>
                <a:t>1</a:t>
              </a:r>
              <a:endParaRPr lang="en-GB" sz="18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endParaRPr lang="en-GB" sz="18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endParaRPr lang="en-GB" sz="18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endParaRPr lang="en-GB" sz="12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r>
                <a:rPr lang="en-GB" sz="1200" b="1">
                  <a:solidFill>
                    <a:srgbClr val="242F58"/>
                  </a:solidFill>
                  <a:latin typeface="Tahoma" panose="020B0604030504040204" pitchFamily="34" charset="0"/>
                  <a:ea typeface="Tahoma" panose="020B0604030504040204" pitchFamily="34" charset="0"/>
                  <a:cs typeface="Tahoma" panose="020B0604030504040204" pitchFamily="34" charset="0"/>
                </a:rPr>
                <a:t>= % of followers that liked or commented on a post</a:t>
              </a:r>
            </a:p>
          </p:txBody>
        </p: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C9480501-D3FD-ABAA-F170-0C51F6A1203A}"/>
                    </a:ext>
                  </a:extLst>
                </p:cNvPr>
                <p:cNvSpPr txBox="1"/>
                <p:nvPr/>
              </p:nvSpPr>
              <p:spPr>
                <a:xfrm>
                  <a:off x="1317381" y="1702169"/>
                  <a:ext cx="3276542" cy="44711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1" i="1" smtClean="0">
                                <a:solidFill>
                                  <a:srgbClr val="242F58"/>
                                </a:solidFill>
                                <a:latin typeface="Cambria Math" panose="02040503050406030204" pitchFamily="18" charset="0"/>
                              </a:rPr>
                            </m:ctrlPr>
                          </m:fPr>
                          <m:num>
                            <m:r>
                              <a:rPr lang="en-GB" b="1" i="0" smtClean="0">
                                <a:solidFill>
                                  <a:srgbClr val="242F58"/>
                                </a:solidFill>
                                <a:latin typeface="Cambria Math" panose="02040503050406030204" pitchFamily="18" charset="0"/>
                              </a:rPr>
                              <m:t>𝐥𝐢𝐤𝐞𝐬</m:t>
                            </m:r>
                            <m:r>
                              <a:rPr lang="en-GB" b="1" i="0" smtClean="0">
                                <a:solidFill>
                                  <a:srgbClr val="242F58"/>
                                </a:solidFill>
                                <a:latin typeface="Cambria Math" panose="02040503050406030204" pitchFamily="18" charset="0"/>
                              </a:rPr>
                              <m:t>+</m:t>
                            </m:r>
                            <m:r>
                              <a:rPr lang="en-GB" b="1" i="0" smtClean="0">
                                <a:solidFill>
                                  <a:srgbClr val="242F58"/>
                                </a:solidFill>
                                <a:latin typeface="Cambria Math" panose="02040503050406030204" pitchFamily="18" charset="0"/>
                              </a:rPr>
                              <m:t>𝐜𝐨𝐦𝐦𝐞𝐧𝐭𝐬</m:t>
                            </m:r>
                          </m:num>
                          <m:den>
                            <m:r>
                              <a:rPr lang="en-GB" b="1" i="0" smtClean="0">
                                <a:solidFill>
                                  <a:srgbClr val="242F58"/>
                                </a:solidFill>
                                <a:latin typeface="Cambria Math" panose="02040503050406030204" pitchFamily="18" charset="0"/>
                              </a:rPr>
                              <m:t>𝐟𝐨𝐥𝐥𝐨𝐰𝐞𝐫𝐬</m:t>
                            </m:r>
                            <m:r>
                              <a:rPr lang="en-GB" b="1" i="0" smtClean="0">
                                <a:solidFill>
                                  <a:srgbClr val="242F58"/>
                                </a:solidFill>
                                <a:latin typeface="Cambria Math" panose="02040503050406030204" pitchFamily="18" charset="0"/>
                              </a:rPr>
                              <m:t> </m:t>
                            </m:r>
                            <m:r>
                              <a:rPr lang="en-GB" b="1" i="0" smtClean="0">
                                <a:solidFill>
                                  <a:srgbClr val="242F58"/>
                                </a:solidFill>
                                <a:latin typeface="Cambria Math" panose="02040503050406030204" pitchFamily="18" charset="0"/>
                              </a:rPr>
                              <m:t>𝐚𝐭</m:t>
                            </m:r>
                            <m:r>
                              <a:rPr lang="en-GB" b="1" i="0" smtClean="0">
                                <a:solidFill>
                                  <a:srgbClr val="242F58"/>
                                </a:solidFill>
                                <a:latin typeface="Cambria Math" panose="02040503050406030204" pitchFamily="18" charset="0"/>
                              </a:rPr>
                              <m:t> </m:t>
                            </m:r>
                            <m:r>
                              <a:rPr lang="en-GB" b="1" i="0" smtClean="0">
                                <a:solidFill>
                                  <a:srgbClr val="242F58"/>
                                </a:solidFill>
                                <a:latin typeface="Cambria Math" panose="02040503050406030204" pitchFamily="18" charset="0"/>
                              </a:rPr>
                              <m:t>𝐭𝐢𝐦𝐞</m:t>
                            </m:r>
                            <m:r>
                              <a:rPr lang="en-GB" b="1" i="0" smtClean="0">
                                <a:solidFill>
                                  <a:srgbClr val="242F58"/>
                                </a:solidFill>
                                <a:latin typeface="Cambria Math" panose="02040503050406030204" pitchFamily="18" charset="0"/>
                              </a:rPr>
                              <m:t> </m:t>
                            </m:r>
                            <m:r>
                              <a:rPr lang="en-GB" b="1" i="0" smtClean="0">
                                <a:solidFill>
                                  <a:srgbClr val="242F58"/>
                                </a:solidFill>
                                <a:latin typeface="Cambria Math" panose="02040503050406030204" pitchFamily="18" charset="0"/>
                              </a:rPr>
                              <m:t>𝐨𝐟</m:t>
                            </m:r>
                            <m:r>
                              <a:rPr lang="en-GB" b="1" i="0" smtClean="0">
                                <a:solidFill>
                                  <a:srgbClr val="242F58"/>
                                </a:solidFill>
                                <a:latin typeface="Cambria Math" panose="02040503050406030204" pitchFamily="18" charset="0"/>
                              </a:rPr>
                              <m:t> </m:t>
                            </m:r>
                            <m:r>
                              <a:rPr lang="en-GB" b="1" i="0" smtClean="0">
                                <a:solidFill>
                                  <a:srgbClr val="242F58"/>
                                </a:solidFill>
                                <a:latin typeface="Cambria Math" panose="02040503050406030204" pitchFamily="18" charset="0"/>
                              </a:rPr>
                              <m:t>𝐩𝐨𝐬𝐭𝐢𝐧𝐠</m:t>
                            </m:r>
                          </m:den>
                        </m:f>
                        <m:r>
                          <a:rPr lang="en-GB" b="1" i="0" smtClean="0">
                            <a:solidFill>
                              <a:srgbClr val="242F58"/>
                            </a:solidFill>
                            <a:latin typeface="Cambria Math" panose="02040503050406030204" pitchFamily="18" charset="0"/>
                          </a:rPr>
                          <m:t>∗</m:t>
                        </m:r>
                        <m:r>
                          <a:rPr lang="en-GB" b="1" i="0" smtClean="0">
                            <a:solidFill>
                              <a:srgbClr val="242F58"/>
                            </a:solidFill>
                            <a:latin typeface="Cambria Math" panose="02040503050406030204" pitchFamily="18" charset="0"/>
                          </a:rPr>
                          <m:t>𝟏𝟎𝟎</m:t>
                        </m:r>
                      </m:oMath>
                    </m:oMathPara>
                  </a14:m>
                  <a:endParaRPr lang="en-GB" b="1">
                    <a:solidFill>
                      <a:srgbClr val="242F58"/>
                    </a:solidFill>
                  </a:endParaRPr>
                </a:p>
              </p:txBody>
            </p:sp>
          </mc:Choice>
          <mc:Fallback>
            <p:sp>
              <p:nvSpPr>
                <p:cNvPr id="11" name="TextBox 10">
                  <a:extLst>
                    <a:ext uri="{FF2B5EF4-FFF2-40B4-BE49-F238E27FC236}">
                      <a16:creationId xmlns:a16="http://schemas.microsoft.com/office/drawing/2014/main" id="{C9480501-D3FD-ABAA-F170-0C51F6A1203A}"/>
                    </a:ext>
                  </a:extLst>
                </p:cNvPr>
                <p:cNvSpPr txBox="1">
                  <a:spLocks noRot="1" noChangeAspect="1" noMove="1" noResize="1" noEditPoints="1" noAdjustHandles="1" noChangeArrowheads="1" noChangeShapeType="1" noTextEdit="1"/>
                </p:cNvSpPr>
                <p:nvPr/>
              </p:nvSpPr>
              <p:spPr>
                <a:xfrm>
                  <a:off x="1317381" y="1702169"/>
                  <a:ext cx="3276542" cy="447110"/>
                </a:xfrm>
                <a:prstGeom prst="rect">
                  <a:avLst/>
                </a:prstGeom>
                <a:blipFill>
                  <a:blip r:embed="rId4"/>
                  <a:stretch>
                    <a:fillRect l="-629" t="-1351" b="-16216"/>
                  </a:stretch>
                </a:blipFill>
              </p:spPr>
              <p:txBody>
                <a:bodyPr/>
                <a:lstStyle/>
                <a:p>
                  <a:r>
                    <a:rPr lang="en-GB">
                      <a:noFill/>
                    </a:rPr>
                    <a:t> </a:t>
                  </a:r>
                </a:p>
              </p:txBody>
            </p:sp>
          </mc:Fallback>
        </mc:AlternateContent>
      </p:grpSp>
      <p:sp>
        <p:nvSpPr>
          <p:cNvPr id="19" name="TextBox 18">
            <a:extLst>
              <a:ext uri="{FF2B5EF4-FFF2-40B4-BE49-F238E27FC236}">
                <a16:creationId xmlns:a16="http://schemas.microsoft.com/office/drawing/2014/main" id="{153508C0-4060-7505-E2AC-8D83639BDA56}"/>
              </a:ext>
            </a:extLst>
          </p:cNvPr>
          <p:cNvSpPr txBox="1"/>
          <p:nvPr/>
        </p:nvSpPr>
        <p:spPr>
          <a:xfrm>
            <a:off x="222905" y="2417634"/>
            <a:ext cx="4168120" cy="369332"/>
          </a:xfrm>
          <a:prstGeom prst="rect">
            <a:avLst/>
          </a:prstGeom>
          <a:noFill/>
        </p:spPr>
        <p:txBody>
          <a:bodyPr wrap="square" rtlCol="0">
            <a:spAutoFit/>
          </a:bodyPr>
          <a:lstStyle/>
          <a:p>
            <a:pPr algn="ctr"/>
            <a:r>
              <a:rPr lang="en-GB" sz="1800" b="1">
                <a:solidFill>
                  <a:srgbClr val="242F58"/>
                </a:solidFill>
                <a:latin typeface="Tahoma" panose="020B0604030504040204" pitchFamily="34" charset="0"/>
                <a:ea typeface="Tahoma" panose="020B0604030504040204" pitchFamily="34" charset="0"/>
                <a:cs typeface="Tahoma" panose="020B0604030504040204" pitchFamily="34" charset="0"/>
              </a:rPr>
              <a:t>Monthly average</a:t>
            </a:r>
          </a:p>
        </p:txBody>
      </p:sp>
      <p:sp>
        <p:nvSpPr>
          <p:cNvPr id="8" name="TextBox 7">
            <a:extLst>
              <a:ext uri="{FF2B5EF4-FFF2-40B4-BE49-F238E27FC236}">
                <a16:creationId xmlns:a16="http://schemas.microsoft.com/office/drawing/2014/main" id="{4F661C89-23D4-1E6E-E851-608F8C989904}"/>
              </a:ext>
            </a:extLst>
          </p:cNvPr>
          <p:cNvSpPr txBox="1"/>
          <p:nvPr/>
        </p:nvSpPr>
        <p:spPr>
          <a:xfrm>
            <a:off x="4572000" y="1001141"/>
            <a:ext cx="4534126" cy="3370153"/>
          </a:xfrm>
          <a:prstGeom prst="rect">
            <a:avLst/>
          </a:prstGeom>
          <a:noFill/>
        </p:spPr>
        <p:txBody>
          <a:bodyPr wrap="square" rtlCol="0">
            <a:spAutoFit/>
          </a:bodyPr>
          <a:lstStyle/>
          <a:p>
            <a:pPr algn="ctr"/>
            <a:r>
              <a:rPr lang="en-GB" sz="1800" b="1">
                <a:solidFill>
                  <a:srgbClr val="242F58"/>
                </a:solidFill>
                <a:latin typeface="Tahoma" panose="020B0604030504040204" pitchFamily="34" charset="0"/>
                <a:ea typeface="Tahoma" panose="020B0604030504040204" pitchFamily="34" charset="0"/>
                <a:cs typeface="Tahoma" panose="020B0604030504040204" pitchFamily="34" charset="0"/>
              </a:rPr>
              <a:t>Average Engagement </a:t>
            </a:r>
          </a:p>
          <a:p>
            <a:pPr algn="ctr"/>
            <a:r>
              <a:rPr lang="en-GB" sz="1800" b="1">
                <a:solidFill>
                  <a:srgbClr val="242F58"/>
                </a:solidFill>
                <a:latin typeface="Tahoma" panose="020B0604030504040204" pitchFamily="34" charset="0"/>
                <a:ea typeface="Tahoma" panose="020B0604030504040204" pitchFamily="34" charset="0"/>
                <a:cs typeface="Tahoma" panose="020B0604030504040204" pitchFamily="34" charset="0"/>
              </a:rPr>
              <a:t>Benchmarks</a:t>
            </a:r>
            <a:r>
              <a:rPr lang="en-GB" sz="1800" b="1" baseline="30000">
                <a:solidFill>
                  <a:srgbClr val="242F58"/>
                </a:solidFill>
                <a:latin typeface="Tahoma" panose="020B0604030504040204" pitchFamily="34" charset="0"/>
                <a:ea typeface="Tahoma" panose="020B0604030504040204" pitchFamily="34" charset="0"/>
                <a:cs typeface="Tahoma" panose="020B0604030504040204" pitchFamily="34" charset="0"/>
              </a:rPr>
              <a:t>2</a:t>
            </a:r>
            <a:endParaRPr lang="en-GB" sz="1800" b="1">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endParaRPr lang="en-GB">
              <a:solidFill>
                <a:srgbClr val="242F58"/>
              </a:solidFill>
              <a:latin typeface="Tahoma" panose="020B0604030504040204" pitchFamily="34" charset="0"/>
              <a:ea typeface="Tahoma" panose="020B0604030504040204" pitchFamily="34" charset="0"/>
              <a:cs typeface="Tahoma" panose="020B0604030504040204" pitchFamily="34" charset="0"/>
            </a:endParaRPr>
          </a:p>
          <a:p>
            <a:pPr algn="ctr">
              <a:spcBef>
                <a:spcPts val="600"/>
              </a:spcBef>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2019 (Overall average):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1.10%</a:t>
            </a:r>
          </a:p>
          <a:p>
            <a:pPr algn="ctr">
              <a:spcBef>
                <a:spcPts val="600"/>
              </a:spcBef>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2020 (Airline accounts):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2.27%</a:t>
            </a:r>
          </a:p>
          <a:p>
            <a:pPr algn="ctr">
              <a:spcBef>
                <a:spcPts val="600"/>
              </a:spcBef>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2021 (Travel accounts):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1.30%</a:t>
            </a:r>
          </a:p>
          <a:p>
            <a:pPr algn="ctr">
              <a:spcBef>
                <a:spcPts val="600"/>
              </a:spcBef>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2022 (Travel accounts):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0.91%</a:t>
            </a:r>
          </a:p>
          <a:p>
            <a:pPr algn="ctr">
              <a:spcBef>
                <a:spcPts val="600"/>
              </a:spcBef>
              <a:spcAft>
                <a:spcPts val="600"/>
              </a:spcAft>
            </a:pPr>
            <a:r>
              <a:rPr lang="en-GB" b="1">
                <a:solidFill>
                  <a:srgbClr val="242F58"/>
                </a:solidFill>
                <a:latin typeface="Tahoma" panose="020B0604030504040204" pitchFamily="34" charset="0"/>
                <a:ea typeface="Tahoma" panose="020B0604030504040204" pitchFamily="34" charset="0"/>
                <a:cs typeface="Tahoma" panose="020B0604030504040204" pitchFamily="34" charset="0"/>
              </a:rPr>
              <a:t>2023 (Aviation accounts): </a:t>
            </a:r>
            <a:r>
              <a:rPr lang="en-GB">
                <a:solidFill>
                  <a:srgbClr val="242F58"/>
                </a:solidFill>
                <a:latin typeface="Tahoma" panose="020B0604030504040204" pitchFamily="34" charset="0"/>
                <a:ea typeface="Tahoma" panose="020B0604030504040204" pitchFamily="34" charset="0"/>
                <a:cs typeface="Tahoma" panose="020B0604030504040204" pitchFamily="34" charset="0"/>
              </a:rPr>
              <a:t>1.07%</a:t>
            </a:r>
          </a:p>
          <a:p>
            <a:pPr algn="ctr">
              <a:spcBef>
                <a:spcPts val="600"/>
              </a:spcBef>
              <a:spcAft>
                <a:spcPts val="600"/>
              </a:spcAft>
            </a:pPr>
            <a:r>
              <a:rPr lang="en-GB" b="1">
                <a:solidFill>
                  <a:srgbClr val="E08806"/>
                </a:solidFill>
                <a:latin typeface="Tahoma" panose="020B0604030504040204" pitchFamily="34" charset="0"/>
                <a:ea typeface="Tahoma" panose="020B0604030504040204" pitchFamily="34" charset="0"/>
                <a:cs typeface="Tahoma" panose="020B0604030504040204" pitchFamily="34" charset="0"/>
              </a:rPr>
              <a:t>2020 Singapore Air: </a:t>
            </a:r>
            <a:r>
              <a:rPr lang="en-GB">
                <a:solidFill>
                  <a:srgbClr val="E08806"/>
                </a:solidFill>
                <a:latin typeface="Tahoma" panose="020B0604030504040204" pitchFamily="34" charset="0"/>
                <a:ea typeface="Tahoma" panose="020B0604030504040204" pitchFamily="34" charset="0"/>
                <a:cs typeface="Tahoma" panose="020B0604030504040204" pitchFamily="34" charset="0"/>
              </a:rPr>
              <a:t>0.60%</a:t>
            </a:r>
          </a:p>
          <a:p>
            <a:pPr algn="ctr">
              <a:spcBef>
                <a:spcPts val="600"/>
              </a:spcBef>
              <a:spcAft>
                <a:spcPts val="600"/>
              </a:spcAft>
            </a:pPr>
            <a:r>
              <a:rPr lang="en-GB" b="1">
                <a:solidFill>
                  <a:srgbClr val="C00000"/>
                </a:solidFill>
                <a:latin typeface="Tahoma" panose="020B0604030504040204" pitchFamily="34" charset="0"/>
                <a:ea typeface="Tahoma" panose="020B0604030504040204" pitchFamily="34" charset="0"/>
                <a:cs typeface="Tahoma" panose="020B0604030504040204" pitchFamily="34" charset="0"/>
              </a:rPr>
              <a:t>2020 Lufthansa: </a:t>
            </a:r>
            <a:r>
              <a:rPr lang="en-GB">
                <a:solidFill>
                  <a:srgbClr val="C00000"/>
                </a:solidFill>
                <a:latin typeface="Tahoma" panose="020B0604030504040204" pitchFamily="34" charset="0"/>
                <a:ea typeface="Tahoma" panose="020B0604030504040204" pitchFamily="34" charset="0"/>
                <a:cs typeface="Tahoma" panose="020B0604030504040204" pitchFamily="34" charset="0"/>
              </a:rPr>
              <a:t>0.13%</a:t>
            </a:r>
          </a:p>
        </p:txBody>
      </p:sp>
      <p:cxnSp>
        <p:nvCxnSpPr>
          <p:cNvPr id="23" name="Straight Connector 22">
            <a:extLst>
              <a:ext uri="{FF2B5EF4-FFF2-40B4-BE49-F238E27FC236}">
                <a16:creationId xmlns:a16="http://schemas.microsoft.com/office/drawing/2014/main" id="{3EC8156B-B66D-2C76-AAEC-4327C921B821}"/>
              </a:ext>
            </a:extLst>
          </p:cNvPr>
          <p:cNvCxnSpPr>
            <a:cxnSpLocks/>
          </p:cNvCxnSpPr>
          <p:nvPr/>
        </p:nvCxnSpPr>
        <p:spPr>
          <a:xfrm flipV="1">
            <a:off x="2205110" y="4030980"/>
            <a:ext cx="0" cy="330005"/>
          </a:xfrm>
          <a:prstGeom prst="line">
            <a:avLst/>
          </a:prstGeom>
          <a:ln w="12700">
            <a:solidFill>
              <a:srgbClr val="0A1D3D"/>
            </a:solidFill>
            <a:prstDash val="lg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E3806C6-CABF-B5EA-BB40-9FAF1D9D286C}"/>
              </a:ext>
            </a:extLst>
          </p:cNvPr>
          <p:cNvSpPr txBox="1"/>
          <p:nvPr/>
        </p:nvSpPr>
        <p:spPr>
          <a:xfrm>
            <a:off x="1662625" y="3621048"/>
            <a:ext cx="1084970" cy="338554"/>
          </a:xfrm>
          <a:prstGeom prst="rect">
            <a:avLst/>
          </a:prstGeom>
          <a:noFill/>
        </p:spPr>
        <p:txBody>
          <a:bodyPr wrap="square" rtlCol="0">
            <a:spAutoFit/>
          </a:bodyPr>
          <a:lstStyle/>
          <a:p>
            <a:pPr algn="ctr"/>
            <a:r>
              <a:rPr lang="en-GB" sz="800" b="1">
                <a:solidFill>
                  <a:srgbClr val="0A1D3D"/>
                </a:solidFill>
                <a:latin typeface="Tahoma" panose="020B0604030504040204" pitchFamily="34" charset="0"/>
                <a:ea typeface="Tahoma" panose="020B0604030504040204" pitchFamily="34" charset="0"/>
                <a:cs typeface="Tahoma" panose="020B0604030504040204" pitchFamily="34" charset="0"/>
              </a:rPr>
              <a:t>Both ≈ 500k followers</a:t>
            </a:r>
          </a:p>
        </p:txBody>
      </p:sp>
      <p:pic>
        <p:nvPicPr>
          <p:cNvPr id="16" name="Picture 15">
            <a:extLst>
              <a:ext uri="{FF2B5EF4-FFF2-40B4-BE49-F238E27FC236}">
                <a16:creationId xmlns:a16="http://schemas.microsoft.com/office/drawing/2014/main" id="{D9715795-E12F-6358-3C40-D75DD1A1EE1F}"/>
              </a:ext>
            </a:extLst>
          </p:cNvPr>
          <p:cNvPicPr>
            <a:picLocks noChangeAspect="1"/>
          </p:cNvPicPr>
          <p:nvPr/>
        </p:nvPicPr>
        <p:blipFill>
          <a:blip r:embed="rId5"/>
          <a:srcRect/>
          <a:stretch/>
        </p:blipFill>
        <p:spPr>
          <a:xfrm>
            <a:off x="222906" y="2815291"/>
            <a:ext cx="4168119" cy="1851960"/>
          </a:xfrm>
          <a:prstGeom prst="rect">
            <a:avLst/>
          </a:prstGeom>
        </p:spPr>
      </p:pic>
      <p:grpSp>
        <p:nvGrpSpPr>
          <p:cNvPr id="15" name="Group 14">
            <a:extLst>
              <a:ext uri="{FF2B5EF4-FFF2-40B4-BE49-F238E27FC236}">
                <a16:creationId xmlns:a16="http://schemas.microsoft.com/office/drawing/2014/main" id="{8E3E82AF-6DAA-D5DD-DE64-8D48649BC894}"/>
              </a:ext>
            </a:extLst>
          </p:cNvPr>
          <p:cNvGrpSpPr/>
          <p:nvPr/>
        </p:nvGrpSpPr>
        <p:grpSpPr>
          <a:xfrm>
            <a:off x="3452043" y="2830206"/>
            <a:ext cx="811821" cy="446791"/>
            <a:chOff x="422772" y="1984026"/>
            <a:chExt cx="811821" cy="446791"/>
          </a:xfrm>
        </p:grpSpPr>
        <p:pic>
          <p:nvPicPr>
            <p:cNvPr id="12" name="Picture 11" descr="A logo on a black background&#10;&#10;Description automatically generated">
              <a:extLst>
                <a:ext uri="{FF2B5EF4-FFF2-40B4-BE49-F238E27FC236}">
                  <a16:creationId xmlns:a16="http://schemas.microsoft.com/office/drawing/2014/main" id="{EAABCB7D-D7A3-DC85-6805-6827DE511F9A}"/>
                </a:ext>
              </a:extLst>
            </p:cNvPr>
            <p:cNvPicPr>
              <a:picLocks noChangeAspect="1"/>
            </p:cNvPicPr>
            <p:nvPr/>
          </p:nvPicPr>
          <p:blipFill rotWithShape="1">
            <a:blip r:embed="rId6"/>
            <a:srcRect l="10596" t="38994" r="10322" b="39251"/>
            <a:stretch/>
          </p:blipFill>
          <p:spPr>
            <a:xfrm>
              <a:off x="422772" y="2050836"/>
              <a:ext cx="556461" cy="102050"/>
            </a:xfrm>
            <a:prstGeom prst="rect">
              <a:avLst/>
            </a:prstGeom>
          </p:spPr>
        </p:pic>
        <p:pic>
          <p:nvPicPr>
            <p:cNvPr id="13" name="Picture 12" descr="A logo with blue and yellow stripes&#10;&#10;Description automatically generated">
              <a:extLst>
                <a:ext uri="{FF2B5EF4-FFF2-40B4-BE49-F238E27FC236}">
                  <a16:creationId xmlns:a16="http://schemas.microsoft.com/office/drawing/2014/main" id="{29977078-C3EE-E317-9013-B86DF9303BF9}"/>
                </a:ext>
              </a:extLst>
            </p:cNvPr>
            <p:cNvPicPr>
              <a:picLocks noChangeAspect="1"/>
            </p:cNvPicPr>
            <p:nvPr/>
          </p:nvPicPr>
          <p:blipFill rotWithShape="1">
            <a:blip r:embed="rId7"/>
            <a:srcRect t="15551" b="16865"/>
            <a:stretch/>
          </p:blipFill>
          <p:spPr>
            <a:xfrm>
              <a:off x="422773" y="2152886"/>
              <a:ext cx="564142" cy="239831"/>
            </a:xfrm>
            <a:prstGeom prst="rect">
              <a:avLst/>
            </a:prstGeom>
          </p:spPr>
        </p:pic>
        <p:pic>
          <p:nvPicPr>
            <p:cNvPr id="14" name="Picture 13">
              <a:extLst>
                <a:ext uri="{FF2B5EF4-FFF2-40B4-BE49-F238E27FC236}">
                  <a16:creationId xmlns:a16="http://schemas.microsoft.com/office/drawing/2014/main" id="{166C7F7C-3920-FFC5-A51C-7B76ECA6E510}"/>
                </a:ext>
              </a:extLst>
            </p:cNvPr>
            <p:cNvPicPr>
              <a:picLocks noChangeAspect="1"/>
            </p:cNvPicPr>
            <p:nvPr/>
          </p:nvPicPr>
          <p:blipFill>
            <a:blip r:embed="rId8"/>
            <a:stretch>
              <a:fillRect/>
            </a:stretch>
          </p:blipFill>
          <p:spPr>
            <a:xfrm>
              <a:off x="986915" y="1984026"/>
              <a:ext cx="247678" cy="446791"/>
            </a:xfrm>
            <a:prstGeom prst="rect">
              <a:avLst/>
            </a:prstGeom>
          </p:spPr>
        </p:pic>
      </p:grpSp>
      <p:cxnSp>
        <p:nvCxnSpPr>
          <p:cNvPr id="4" name="Straight Connector 3">
            <a:extLst>
              <a:ext uri="{FF2B5EF4-FFF2-40B4-BE49-F238E27FC236}">
                <a16:creationId xmlns:a16="http://schemas.microsoft.com/office/drawing/2014/main" id="{4A735427-942C-CAE6-2E21-9A7F2739839F}"/>
              </a:ext>
            </a:extLst>
          </p:cNvPr>
          <p:cNvCxnSpPr>
            <a:cxnSpLocks/>
          </p:cNvCxnSpPr>
          <p:nvPr/>
        </p:nvCxnSpPr>
        <p:spPr>
          <a:xfrm flipV="1">
            <a:off x="2982350" y="2940749"/>
            <a:ext cx="0" cy="1420236"/>
          </a:xfrm>
          <a:prstGeom prst="line">
            <a:avLst/>
          </a:prstGeom>
          <a:ln w="12700">
            <a:solidFill>
              <a:srgbClr val="C00000"/>
            </a:solidFill>
            <a:prstDash val="lg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BACEC90-13A8-D2A3-32A7-5C6EF5C2C474}"/>
              </a:ext>
            </a:extLst>
          </p:cNvPr>
          <p:cNvSpPr txBox="1"/>
          <p:nvPr/>
        </p:nvSpPr>
        <p:spPr>
          <a:xfrm>
            <a:off x="2331899" y="2838516"/>
            <a:ext cx="686438" cy="276999"/>
          </a:xfrm>
          <a:prstGeom prst="rect">
            <a:avLst/>
          </a:prstGeom>
          <a:noFill/>
        </p:spPr>
        <p:txBody>
          <a:bodyPr wrap="square" rtlCol="0">
            <a:spAutoFit/>
          </a:bodyPr>
          <a:lstStyle/>
          <a:p>
            <a:pPr algn="ctr"/>
            <a:r>
              <a:rPr lang="en-GB" sz="600" b="1">
                <a:solidFill>
                  <a:srgbClr val="C00000"/>
                </a:solidFill>
                <a:latin typeface="Tahoma" panose="020B0604030504040204" pitchFamily="34" charset="0"/>
                <a:ea typeface="Tahoma" panose="020B0604030504040204" pitchFamily="34" charset="0"/>
                <a:cs typeface="Tahoma" panose="020B0604030504040204" pitchFamily="34" charset="0"/>
              </a:rPr>
              <a:t>Decreasing post activity</a:t>
            </a:r>
          </a:p>
        </p:txBody>
      </p:sp>
      <p:grpSp>
        <p:nvGrpSpPr>
          <p:cNvPr id="24" name="Group 23">
            <a:extLst>
              <a:ext uri="{FF2B5EF4-FFF2-40B4-BE49-F238E27FC236}">
                <a16:creationId xmlns:a16="http://schemas.microsoft.com/office/drawing/2014/main" id="{0B780264-78FD-ADD6-D913-5D2FA30551B2}"/>
              </a:ext>
            </a:extLst>
          </p:cNvPr>
          <p:cNvGrpSpPr/>
          <p:nvPr/>
        </p:nvGrpSpPr>
        <p:grpSpPr>
          <a:xfrm>
            <a:off x="8407295" y="21102"/>
            <a:ext cx="871964" cy="503882"/>
            <a:chOff x="8285465" y="129092"/>
            <a:chExt cx="871964" cy="503882"/>
          </a:xfrm>
        </p:grpSpPr>
        <p:sp>
          <p:nvSpPr>
            <p:cNvPr id="26" name="Google Shape;3967;p40">
              <a:extLst>
                <a:ext uri="{FF2B5EF4-FFF2-40B4-BE49-F238E27FC236}">
                  <a16:creationId xmlns:a16="http://schemas.microsoft.com/office/drawing/2014/main" id="{E93D0F69-93B6-3B5F-C633-31FF36A67188}"/>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General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27" name="Graphic 26">
              <a:extLst>
                <a:ext uri="{FF2B5EF4-FFF2-40B4-BE49-F238E27FC236}">
                  <a16:creationId xmlns:a16="http://schemas.microsoft.com/office/drawing/2014/main" id="{9C50044D-7DD6-E5C9-98FF-8F3D30E2FA5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546107" y="129092"/>
              <a:ext cx="378816" cy="235866"/>
            </a:xfrm>
            <a:prstGeom prst="rect">
              <a:avLst/>
            </a:prstGeom>
          </p:spPr>
        </p:pic>
      </p:grpSp>
    </p:spTree>
    <p:extLst>
      <p:ext uri="{BB962C8B-B14F-4D97-AF65-F5344CB8AC3E}">
        <p14:creationId xmlns:p14="http://schemas.microsoft.com/office/powerpoint/2010/main" val="2687419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8" grpId="0"/>
      <p:bldP spid="25" grpId="0"/>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966"/>
        <p:cNvGrpSpPr/>
        <p:nvPr/>
      </p:nvGrpSpPr>
      <p:grpSpPr>
        <a:xfrm>
          <a:off x="0" y="0"/>
          <a:ext cx="0" cy="0"/>
          <a:chOff x="0" y="0"/>
          <a:chExt cx="0" cy="0"/>
        </a:xfrm>
      </p:grpSpPr>
      <p:sp>
        <p:nvSpPr>
          <p:cNvPr id="3967" name="Google Shape;3967;p40"/>
          <p:cNvSpPr txBox="1">
            <a:spLocks noGrp="1"/>
          </p:cNvSpPr>
          <p:nvPr>
            <p:ph type="title"/>
          </p:nvPr>
        </p:nvSpPr>
        <p:spPr>
          <a:xfrm>
            <a:off x="1035608" y="3455848"/>
            <a:ext cx="7395142" cy="1300174"/>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nl-BE" sz="4000" err="1"/>
              <a:t>Comparing</a:t>
            </a:r>
            <a:r>
              <a:rPr lang="nl-BE" sz="4000"/>
              <a:t> BOTH </a:t>
            </a:r>
            <a:r>
              <a:rPr lang="nl-BE" sz="4000" err="1"/>
              <a:t>AIRLINEs</a:t>
            </a:r>
            <a:r>
              <a:rPr lang="nl-BE" sz="4000"/>
              <a:t>’ </a:t>
            </a:r>
            <a:br>
              <a:rPr lang="nl-BE" sz="4000"/>
            </a:br>
            <a:r>
              <a:rPr lang="nl-BE" sz="4000"/>
              <a:t>INSTAGRAM STRATEGY</a:t>
            </a:r>
            <a:endParaRPr lang="nl-BE" sz="4000">
              <a:solidFill>
                <a:schemeClr val="tx1"/>
              </a:solidFill>
            </a:endParaRPr>
          </a:p>
        </p:txBody>
      </p:sp>
      <p:sp>
        <p:nvSpPr>
          <p:cNvPr id="3968" name="Google Shape;3968;p40"/>
          <p:cNvSpPr txBox="1">
            <a:spLocks noGrp="1"/>
          </p:cNvSpPr>
          <p:nvPr>
            <p:ph type="title" idx="2"/>
          </p:nvPr>
        </p:nvSpPr>
        <p:spPr>
          <a:xfrm>
            <a:off x="6240812" y="2376450"/>
            <a:ext cx="2189964" cy="841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t>02</a:t>
            </a:r>
            <a:endParaRPr lang="en-GB"/>
          </a:p>
        </p:txBody>
      </p:sp>
      <p:grpSp>
        <p:nvGrpSpPr>
          <p:cNvPr id="3970" name="Google Shape;3970;p40"/>
          <p:cNvGrpSpPr/>
          <p:nvPr/>
        </p:nvGrpSpPr>
        <p:grpSpPr>
          <a:xfrm>
            <a:off x="4151753" y="1411443"/>
            <a:ext cx="1763602" cy="1672817"/>
            <a:chOff x="4138184" y="930105"/>
            <a:chExt cx="3959591" cy="3755764"/>
          </a:xfrm>
        </p:grpSpPr>
        <p:sp>
          <p:nvSpPr>
            <p:cNvPr id="3971" name="Google Shape;3971;p40"/>
            <p:cNvSpPr/>
            <p:nvPr/>
          </p:nvSpPr>
          <p:spPr>
            <a:xfrm>
              <a:off x="5909881" y="2233489"/>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72" name="Google Shape;3972;p40"/>
            <p:cNvGrpSpPr/>
            <p:nvPr/>
          </p:nvGrpSpPr>
          <p:grpSpPr>
            <a:xfrm>
              <a:off x="4138184" y="930105"/>
              <a:ext cx="3868174" cy="3755764"/>
              <a:chOff x="4138184" y="930105"/>
              <a:chExt cx="3868174" cy="3755764"/>
            </a:xfrm>
          </p:grpSpPr>
          <p:sp>
            <p:nvSpPr>
              <p:cNvPr id="3973" name="Google Shape;3973;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108" name="Google Shape;4108;p40"/>
          <p:cNvGrpSpPr/>
          <p:nvPr/>
        </p:nvGrpSpPr>
        <p:grpSpPr>
          <a:xfrm rot="-7355672">
            <a:off x="870850" y="88876"/>
            <a:ext cx="2053828" cy="1672589"/>
            <a:chOff x="3394530" y="930105"/>
            <a:chExt cx="4611828" cy="3755764"/>
          </a:xfrm>
        </p:grpSpPr>
        <p:sp>
          <p:nvSpPr>
            <p:cNvPr id="4109" name="Google Shape;4109;p40"/>
            <p:cNvSpPr/>
            <p:nvPr/>
          </p:nvSpPr>
          <p:spPr>
            <a:xfrm>
              <a:off x="3394530" y="1214097"/>
              <a:ext cx="2187893" cy="2136822"/>
            </a:xfrm>
            <a:custGeom>
              <a:avLst/>
              <a:gdLst/>
              <a:ahLst/>
              <a:cxnLst/>
              <a:rect l="l" t="t" r="r" b="b"/>
              <a:pathLst>
                <a:path w="101444" h="99076" extrusionOk="0">
                  <a:moveTo>
                    <a:pt x="14196" y="0"/>
                  </a:moveTo>
                  <a:lnTo>
                    <a:pt x="13949" y="247"/>
                  </a:lnTo>
                  <a:cubicBezTo>
                    <a:pt x="13167" y="1029"/>
                    <a:pt x="14217" y="2900"/>
                    <a:pt x="15657" y="4361"/>
                  </a:cubicBezTo>
                  <a:lnTo>
                    <a:pt x="47276" y="36103"/>
                  </a:lnTo>
                  <a:lnTo>
                    <a:pt x="49374" y="38223"/>
                  </a:lnTo>
                  <a:cubicBezTo>
                    <a:pt x="38492" y="44025"/>
                    <a:pt x="28062" y="50051"/>
                    <a:pt x="19956" y="55257"/>
                  </a:cubicBezTo>
                  <a:lnTo>
                    <a:pt x="640" y="54413"/>
                  </a:lnTo>
                  <a:lnTo>
                    <a:pt x="495" y="54577"/>
                  </a:lnTo>
                  <a:cubicBezTo>
                    <a:pt x="1" y="55194"/>
                    <a:pt x="105" y="56080"/>
                    <a:pt x="722" y="56574"/>
                  </a:cubicBezTo>
                  <a:lnTo>
                    <a:pt x="8806" y="63012"/>
                  </a:lnTo>
                  <a:cubicBezTo>
                    <a:pt x="3808" y="66983"/>
                    <a:pt x="3602" y="68320"/>
                    <a:pt x="3972" y="69060"/>
                  </a:cubicBezTo>
                  <a:cubicBezTo>
                    <a:pt x="4166" y="69418"/>
                    <a:pt x="4567" y="69740"/>
                    <a:pt x="5666" y="69740"/>
                  </a:cubicBezTo>
                  <a:cubicBezTo>
                    <a:pt x="6782" y="69740"/>
                    <a:pt x="8617" y="69408"/>
                    <a:pt x="11686" y="68443"/>
                  </a:cubicBezTo>
                  <a:lnTo>
                    <a:pt x="12489" y="78729"/>
                  </a:lnTo>
                  <a:cubicBezTo>
                    <a:pt x="12530" y="79121"/>
                    <a:pt x="12695" y="79470"/>
                    <a:pt x="12983" y="79717"/>
                  </a:cubicBezTo>
                  <a:cubicBezTo>
                    <a:pt x="13234" y="79932"/>
                    <a:pt x="13548" y="80054"/>
                    <a:pt x="13884" y="80054"/>
                  </a:cubicBezTo>
                  <a:cubicBezTo>
                    <a:pt x="13932" y="80054"/>
                    <a:pt x="13982" y="80051"/>
                    <a:pt x="14031" y="80046"/>
                  </a:cubicBezTo>
                  <a:lnTo>
                    <a:pt x="14237" y="80026"/>
                  </a:lnTo>
                  <a:lnTo>
                    <a:pt x="14258" y="79985"/>
                  </a:lnTo>
                  <a:lnTo>
                    <a:pt x="14319" y="79985"/>
                  </a:lnTo>
                  <a:lnTo>
                    <a:pt x="21561" y="68176"/>
                  </a:lnTo>
                  <a:lnTo>
                    <a:pt x="21582" y="68176"/>
                  </a:lnTo>
                  <a:lnTo>
                    <a:pt x="24421" y="63527"/>
                  </a:lnTo>
                  <a:cubicBezTo>
                    <a:pt x="33163" y="59762"/>
                    <a:pt x="43902" y="54558"/>
                    <a:pt x="54703" y="48838"/>
                  </a:cubicBezTo>
                  <a:lnTo>
                    <a:pt x="55505" y="52007"/>
                  </a:lnTo>
                  <a:lnTo>
                    <a:pt x="63981" y="95351"/>
                  </a:lnTo>
                  <a:cubicBezTo>
                    <a:pt x="64351" y="97244"/>
                    <a:pt x="65236" y="99076"/>
                    <a:pt x="66265" y="99076"/>
                  </a:cubicBezTo>
                  <a:lnTo>
                    <a:pt x="66430" y="99076"/>
                  </a:lnTo>
                  <a:lnTo>
                    <a:pt x="66759" y="99013"/>
                  </a:lnTo>
                  <a:lnTo>
                    <a:pt x="66759" y="98994"/>
                  </a:lnTo>
                  <a:lnTo>
                    <a:pt x="66800" y="98994"/>
                  </a:lnTo>
                  <a:lnTo>
                    <a:pt x="68322" y="70645"/>
                  </a:lnTo>
                  <a:cubicBezTo>
                    <a:pt x="68671" y="70480"/>
                    <a:pt x="69000" y="70294"/>
                    <a:pt x="69351" y="70110"/>
                  </a:cubicBezTo>
                  <a:cubicBezTo>
                    <a:pt x="69433" y="70069"/>
                    <a:pt x="69515" y="70028"/>
                    <a:pt x="69576" y="69987"/>
                  </a:cubicBezTo>
                  <a:cubicBezTo>
                    <a:pt x="71614" y="68917"/>
                    <a:pt x="73444" y="67785"/>
                    <a:pt x="74760" y="66797"/>
                  </a:cubicBezTo>
                  <a:cubicBezTo>
                    <a:pt x="76777" y="65296"/>
                    <a:pt x="76839" y="64679"/>
                    <a:pt x="76633" y="64287"/>
                  </a:cubicBezTo>
                  <a:cubicBezTo>
                    <a:pt x="76511" y="64078"/>
                    <a:pt x="76301" y="63892"/>
                    <a:pt x="75762" y="63892"/>
                  </a:cubicBezTo>
                  <a:cubicBezTo>
                    <a:pt x="75297" y="63892"/>
                    <a:pt x="74590" y="64030"/>
                    <a:pt x="73485" y="64411"/>
                  </a:cubicBezTo>
                  <a:cubicBezTo>
                    <a:pt x="72107" y="64905"/>
                    <a:pt x="70379" y="65667"/>
                    <a:pt x="68548" y="66613"/>
                  </a:cubicBezTo>
                  <a:lnTo>
                    <a:pt x="68753" y="62910"/>
                  </a:lnTo>
                  <a:lnTo>
                    <a:pt x="68816" y="62888"/>
                  </a:lnTo>
                  <a:lnTo>
                    <a:pt x="68816" y="62024"/>
                  </a:lnTo>
                  <a:cubicBezTo>
                    <a:pt x="68877" y="61983"/>
                    <a:pt x="68939" y="61964"/>
                    <a:pt x="69022" y="61922"/>
                  </a:cubicBezTo>
                  <a:cubicBezTo>
                    <a:pt x="69617" y="61634"/>
                    <a:pt x="70235" y="61325"/>
                    <a:pt x="70852" y="60996"/>
                  </a:cubicBezTo>
                  <a:cubicBezTo>
                    <a:pt x="71263" y="60770"/>
                    <a:pt x="71655" y="60565"/>
                    <a:pt x="72045" y="60338"/>
                  </a:cubicBezTo>
                  <a:cubicBezTo>
                    <a:pt x="73589" y="59474"/>
                    <a:pt x="74966" y="58590"/>
                    <a:pt x="76016" y="57808"/>
                  </a:cubicBezTo>
                  <a:cubicBezTo>
                    <a:pt x="76345" y="57561"/>
                    <a:pt x="76592" y="57355"/>
                    <a:pt x="76818" y="57169"/>
                  </a:cubicBezTo>
                  <a:cubicBezTo>
                    <a:pt x="78052" y="56100"/>
                    <a:pt x="78073" y="55606"/>
                    <a:pt x="77909" y="55277"/>
                  </a:cubicBezTo>
                  <a:cubicBezTo>
                    <a:pt x="77789" y="55071"/>
                    <a:pt x="77583" y="54893"/>
                    <a:pt x="77062" y="54893"/>
                  </a:cubicBezTo>
                  <a:cubicBezTo>
                    <a:pt x="76598" y="54893"/>
                    <a:pt x="75885" y="55034"/>
                    <a:pt x="74760" y="55422"/>
                  </a:cubicBezTo>
                  <a:cubicBezTo>
                    <a:pt x="74472" y="55524"/>
                    <a:pt x="74143" y="55647"/>
                    <a:pt x="73814" y="55771"/>
                  </a:cubicBezTo>
                  <a:cubicBezTo>
                    <a:pt x="72437" y="56305"/>
                    <a:pt x="70852" y="57046"/>
                    <a:pt x="69227" y="57910"/>
                  </a:cubicBezTo>
                  <a:cubicBezTo>
                    <a:pt x="69145" y="57951"/>
                    <a:pt x="69083" y="57992"/>
                    <a:pt x="69000" y="58033"/>
                  </a:cubicBezTo>
                  <a:lnTo>
                    <a:pt x="69186" y="54906"/>
                  </a:lnTo>
                  <a:cubicBezTo>
                    <a:pt x="69741" y="54618"/>
                    <a:pt x="70297" y="54330"/>
                    <a:pt x="70873" y="54023"/>
                  </a:cubicBezTo>
                  <a:cubicBezTo>
                    <a:pt x="70975" y="53982"/>
                    <a:pt x="71531" y="53672"/>
                    <a:pt x="72333" y="53220"/>
                  </a:cubicBezTo>
                  <a:cubicBezTo>
                    <a:pt x="75501" y="51431"/>
                    <a:pt x="82578" y="47212"/>
                    <a:pt x="81673" y="45506"/>
                  </a:cubicBezTo>
                  <a:cubicBezTo>
                    <a:pt x="81501" y="45181"/>
                    <a:pt x="81095" y="45043"/>
                    <a:pt x="80528" y="45043"/>
                  </a:cubicBezTo>
                  <a:cubicBezTo>
                    <a:pt x="79873" y="45043"/>
                    <a:pt x="79003" y="45228"/>
                    <a:pt x="78032" y="45526"/>
                  </a:cubicBezTo>
                  <a:cubicBezTo>
                    <a:pt x="75029" y="46431"/>
                    <a:pt x="71038" y="48386"/>
                    <a:pt x="69494" y="49187"/>
                  </a:cubicBezTo>
                  <a:lnTo>
                    <a:pt x="69535" y="48323"/>
                  </a:lnTo>
                  <a:lnTo>
                    <a:pt x="69659" y="45917"/>
                  </a:lnTo>
                  <a:lnTo>
                    <a:pt x="69968" y="40424"/>
                  </a:lnTo>
                  <a:cubicBezTo>
                    <a:pt x="70009" y="40404"/>
                    <a:pt x="70029" y="40382"/>
                    <a:pt x="70070" y="40363"/>
                  </a:cubicBezTo>
                  <a:cubicBezTo>
                    <a:pt x="70379" y="40198"/>
                    <a:pt x="70709" y="39992"/>
                    <a:pt x="71038" y="39806"/>
                  </a:cubicBezTo>
                  <a:cubicBezTo>
                    <a:pt x="71222" y="39683"/>
                    <a:pt x="71428" y="39581"/>
                    <a:pt x="71614" y="39477"/>
                  </a:cubicBezTo>
                  <a:cubicBezTo>
                    <a:pt x="71675" y="39436"/>
                    <a:pt x="71757" y="39395"/>
                    <a:pt x="71839" y="39334"/>
                  </a:cubicBezTo>
                  <a:cubicBezTo>
                    <a:pt x="74020" y="38059"/>
                    <a:pt x="76222" y="36762"/>
                    <a:pt x="78381" y="35467"/>
                  </a:cubicBezTo>
                  <a:cubicBezTo>
                    <a:pt x="88338" y="29418"/>
                    <a:pt x="101443" y="20860"/>
                    <a:pt x="100826" y="17898"/>
                  </a:cubicBezTo>
                  <a:lnTo>
                    <a:pt x="100846" y="17528"/>
                  </a:lnTo>
                  <a:lnTo>
                    <a:pt x="100703" y="17610"/>
                  </a:lnTo>
                  <a:cubicBezTo>
                    <a:pt x="100440" y="17209"/>
                    <a:pt x="99845" y="17029"/>
                    <a:pt x="98986" y="17029"/>
                  </a:cubicBezTo>
                  <a:cubicBezTo>
                    <a:pt x="92656" y="17029"/>
                    <a:pt x="72016" y="26829"/>
                    <a:pt x="64825" y="30343"/>
                  </a:cubicBezTo>
                  <a:lnTo>
                    <a:pt x="58406" y="26497"/>
                  </a:lnTo>
                  <a:lnTo>
                    <a:pt x="57748" y="26105"/>
                  </a:lnTo>
                  <a:cubicBezTo>
                    <a:pt x="60258" y="24706"/>
                    <a:pt x="68177" y="20098"/>
                    <a:pt x="67231" y="18309"/>
                  </a:cubicBezTo>
                  <a:cubicBezTo>
                    <a:pt x="67094" y="18044"/>
                    <a:pt x="66825" y="17807"/>
                    <a:pt x="66112" y="17807"/>
                  </a:cubicBezTo>
                  <a:cubicBezTo>
                    <a:pt x="65440" y="17807"/>
                    <a:pt x="64371" y="18018"/>
                    <a:pt x="62644" y="18617"/>
                  </a:cubicBezTo>
                  <a:cubicBezTo>
                    <a:pt x="60258" y="19440"/>
                    <a:pt x="57233" y="20819"/>
                    <a:pt x="54106" y="22465"/>
                  </a:cubicBezTo>
                  <a:cubicBezTo>
                    <a:pt x="53675" y="22690"/>
                    <a:pt x="53263" y="22937"/>
                    <a:pt x="52830" y="23164"/>
                  </a:cubicBezTo>
                  <a:lnTo>
                    <a:pt x="51061" y="22095"/>
                  </a:lnTo>
                  <a:lnTo>
                    <a:pt x="50156" y="21560"/>
                  </a:lnTo>
                  <a:cubicBezTo>
                    <a:pt x="52111" y="20510"/>
                    <a:pt x="53859" y="19420"/>
                    <a:pt x="55135" y="18474"/>
                  </a:cubicBezTo>
                  <a:cubicBezTo>
                    <a:pt x="57172" y="16952"/>
                    <a:pt x="57233" y="16334"/>
                    <a:pt x="57007" y="15943"/>
                  </a:cubicBezTo>
                  <a:cubicBezTo>
                    <a:pt x="56872" y="15689"/>
                    <a:pt x="56560" y="15582"/>
                    <a:pt x="56131" y="15582"/>
                  </a:cubicBezTo>
                  <a:cubicBezTo>
                    <a:pt x="54095" y="15582"/>
                    <a:pt x="49414" y="17998"/>
                    <a:pt x="48326" y="18576"/>
                  </a:cubicBezTo>
                  <a:cubicBezTo>
                    <a:pt x="47770" y="18885"/>
                    <a:pt x="47215" y="19193"/>
                    <a:pt x="46700" y="19481"/>
                  </a:cubicBezTo>
                  <a:lnTo>
                    <a:pt x="43120" y="17342"/>
                  </a:lnTo>
                  <a:lnTo>
                    <a:pt x="42771" y="17136"/>
                  </a:lnTo>
                  <a:cubicBezTo>
                    <a:pt x="44972" y="15902"/>
                    <a:pt x="49498" y="13186"/>
                    <a:pt x="48839" y="11952"/>
                  </a:cubicBezTo>
                  <a:cubicBezTo>
                    <a:pt x="48704" y="11699"/>
                    <a:pt x="48395" y="11592"/>
                    <a:pt x="47970" y="11592"/>
                  </a:cubicBezTo>
                  <a:cubicBezTo>
                    <a:pt x="45937" y="11592"/>
                    <a:pt x="41247" y="14028"/>
                    <a:pt x="40158" y="14606"/>
                  </a:cubicBezTo>
                  <a:cubicBezTo>
                    <a:pt x="39870" y="14750"/>
                    <a:pt x="39582" y="14894"/>
                    <a:pt x="39315" y="15059"/>
                  </a:cubicBezTo>
                  <a:lnTo>
                    <a:pt x="14196" y="0"/>
                  </a:lnTo>
                  <a:close/>
                </a:path>
              </a:pathLst>
            </a:custGeom>
            <a:solidFill>
              <a:srgbClr val="13394F">
                <a:alpha val="34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10" name="Google Shape;4110;p40"/>
            <p:cNvGrpSpPr/>
            <p:nvPr/>
          </p:nvGrpSpPr>
          <p:grpSpPr>
            <a:xfrm>
              <a:off x="4138184" y="930105"/>
              <a:ext cx="3868174" cy="3755764"/>
              <a:chOff x="4138184" y="930105"/>
              <a:chExt cx="3868174" cy="3755764"/>
            </a:xfrm>
          </p:grpSpPr>
          <p:sp>
            <p:nvSpPr>
              <p:cNvPr id="4111" name="Google Shape;4111;p40"/>
              <p:cNvSpPr/>
              <p:nvPr/>
            </p:nvSpPr>
            <p:spPr>
              <a:xfrm>
                <a:off x="4138184" y="930105"/>
                <a:ext cx="3868174" cy="3755764"/>
              </a:xfrm>
              <a:custGeom>
                <a:avLst/>
                <a:gdLst/>
                <a:ahLst/>
                <a:cxnLst/>
                <a:rect l="l" t="t" r="r" b="b"/>
                <a:pathLst>
                  <a:path w="179352" h="174140" extrusionOk="0">
                    <a:moveTo>
                      <a:pt x="24442" y="1"/>
                    </a:moveTo>
                    <a:lnTo>
                      <a:pt x="24442" y="1"/>
                    </a:lnTo>
                    <a:cubicBezTo>
                      <a:pt x="23537" y="886"/>
                      <a:pt x="24915" y="3704"/>
                      <a:pt x="27466" y="6276"/>
                    </a:cubicBezTo>
                    <a:lnTo>
                      <a:pt x="88011" y="67066"/>
                    </a:lnTo>
                    <a:cubicBezTo>
                      <a:pt x="87846" y="67170"/>
                      <a:pt x="87660" y="67252"/>
                      <a:pt x="87495" y="67354"/>
                    </a:cubicBezTo>
                    <a:cubicBezTo>
                      <a:pt x="67109" y="78175"/>
                      <a:pt x="48778" y="88832"/>
                      <a:pt x="34748" y="97842"/>
                    </a:cubicBezTo>
                    <a:lnTo>
                      <a:pt x="598" y="96361"/>
                    </a:lnTo>
                    <a:lnTo>
                      <a:pt x="598" y="96361"/>
                    </a:lnTo>
                    <a:cubicBezTo>
                      <a:pt x="1" y="97123"/>
                      <a:pt x="124" y="98254"/>
                      <a:pt x="886" y="98871"/>
                    </a:cubicBezTo>
                    <a:lnTo>
                      <a:pt x="15967" y="110885"/>
                    </a:lnTo>
                    <a:cubicBezTo>
                      <a:pt x="9403" y="115987"/>
                      <a:pt x="6029" y="119670"/>
                      <a:pt x="6852" y="121253"/>
                    </a:cubicBezTo>
                    <a:cubicBezTo>
                      <a:pt x="7150" y="121805"/>
                      <a:pt x="7957" y="122070"/>
                      <a:pt x="9222" y="122070"/>
                    </a:cubicBezTo>
                    <a:cubicBezTo>
                      <a:pt x="11547" y="122070"/>
                      <a:pt x="15419" y="121177"/>
                      <a:pt x="20534" y="119525"/>
                    </a:cubicBezTo>
                    <a:lnTo>
                      <a:pt x="22056" y="138720"/>
                    </a:lnTo>
                    <a:cubicBezTo>
                      <a:pt x="22114" y="139657"/>
                      <a:pt x="22914" y="140372"/>
                      <a:pt x="23840" y="140372"/>
                    </a:cubicBezTo>
                    <a:cubicBezTo>
                      <a:pt x="23889" y="140372"/>
                      <a:pt x="23939" y="140370"/>
                      <a:pt x="23990" y="140366"/>
                    </a:cubicBezTo>
                    <a:lnTo>
                      <a:pt x="41866" y="111255"/>
                    </a:lnTo>
                    <a:cubicBezTo>
                      <a:pt x="57172" y="104672"/>
                      <a:pt x="76284" y="95477"/>
                      <a:pt x="96671" y="84635"/>
                    </a:cubicBezTo>
                    <a:lnTo>
                      <a:pt x="97041" y="84451"/>
                    </a:lnTo>
                    <a:lnTo>
                      <a:pt x="113397" y="168117"/>
                    </a:lnTo>
                    <a:cubicBezTo>
                      <a:pt x="114067" y="171506"/>
                      <a:pt x="115529" y="174140"/>
                      <a:pt x="116736" y="174140"/>
                    </a:cubicBezTo>
                    <a:cubicBezTo>
                      <a:pt x="116789" y="174140"/>
                      <a:pt x="116842" y="174134"/>
                      <a:pt x="116894" y="174124"/>
                    </a:cubicBezTo>
                    <a:lnTo>
                      <a:pt x="119651" y="123949"/>
                    </a:lnTo>
                    <a:cubicBezTo>
                      <a:pt x="120493" y="123538"/>
                      <a:pt x="121379" y="123085"/>
                      <a:pt x="122263" y="122633"/>
                    </a:cubicBezTo>
                    <a:cubicBezTo>
                      <a:pt x="129608" y="118724"/>
                      <a:pt x="135080" y="114629"/>
                      <a:pt x="134463" y="113477"/>
                    </a:cubicBezTo>
                    <a:cubicBezTo>
                      <a:pt x="134356" y="113272"/>
                      <a:pt x="134065" y="113175"/>
                      <a:pt x="133616" y="113175"/>
                    </a:cubicBezTo>
                    <a:cubicBezTo>
                      <a:pt x="131540" y="113175"/>
                      <a:pt x="126100" y="115259"/>
                      <a:pt x="120062" y="118456"/>
                    </a:cubicBezTo>
                    <a:cubicBezTo>
                      <a:pt x="120021" y="118477"/>
                      <a:pt x="119980" y="118497"/>
                      <a:pt x="119958" y="118518"/>
                    </a:cubicBezTo>
                    <a:lnTo>
                      <a:pt x="120493" y="108663"/>
                    </a:lnTo>
                    <a:cubicBezTo>
                      <a:pt x="121790" y="108046"/>
                      <a:pt x="123148" y="107388"/>
                      <a:pt x="124525" y="106647"/>
                    </a:cubicBezTo>
                    <a:cubicBezTo>
                      <a:pt x="131871" y="102738"/>
                      <a:pt x="137343" y="98645"/>
                      <a:pt x="136726" y="97493"/>
                    </a:cubicBezTo>
                    <a:cubicBezTo>
                      <a:pt x="136619" y="97288"/>
                      <a:pt x="136328" y="97191"/>
                      <a:pt x="135878" y="97191"/>
                    </a:cubicBezTo>
                    <a:cubicBezTo>
                      <a:pt x="133802" y="97191"/>
                      <a:pt x="128362" y="99275"/>
                      <a:pt x="122325" y="102472"/>
                    </a:cubicBezTo>
                    <a:cubicBezTo>
                      <a:pt x="121790" y="102760"/>
                      <a:pt x="121296" y="103026"/>
                      <a:pt x="120781" y="103314"/>
                    </a:cubicBezTo>
                    <a:lnTo>
                      <a:pt x="121193" y="96012"/>
                    </a:lnTo>
                    <a:cubicBezTo>
                      <a:pt x="122304" y="95456"/>
                      <a:pt x="123415" y="94880"/>
                      <a:pt x="124567" y="94284"/>
                    </a:cubicBezTo>
                    <a:cubicBezTo>
                      <a:pt x="135922" y="88256"/>
                      <a:pt x="144357" y="81919"/>
                      <a:pt x="143411" y="80150"/>
                    </a:cubicBezTo>
                    <a:cubicBezTo>
                      <a:pt x="143244" y="79835"/>
                      <a:pt x="142793" y="79685"/>
                      <a:pt x="142100" y="79685"/>
                    </a:cubicBezTo>
                    <a:cubicBezTo>
                      <a:pt x="138947" y="79685"/>
                      <a:pt x="130787" y="82791"/>
                      <a:pt x="121645" y="87597"/>
                    </a:cubicBezTo>
                    <a:lnTo>
                      <a:pt x="122592" y="70338"/>
                    </a:lnTo>
                    <a:cubicBezTo>
                      <a:pt x="156269" y="51020"/>
                      <a:pt x="179351" y="34583"/>
                      <a:pt x="177314" y="30736"/>
                    </a:cubicBezTo>
                    <a:cubicBezTo>
                      <a:pt x="177018" y="30181"/>
                      <a:pt x="176211" y="29913"/>
                      <a:pt x="174939" y="29913"/>
                    </a:cubicBezTo>
                    <a:cubicBezTo>
                      <a:pt x="167445" y="29913"/>
                      <a:pt x="143845" y="39208"/>
                      <a:pt x="114157" y="53735"/>
                    </a:cubicBezTo>
                    <a:lnTo>
                      <a:pt x="100148" y="45342"/>
                    </a:lnTo>
                    <a:cubicBezTo>
                      <a:pt x="110887" y="39521"/>
                      <a:pt x="118704" y="33575"/>
                      <a:pt x="117778" y="31868"/>
                    </a:cubicBezTo>
                    <a:cubicBezTo>
                      <a:pt x="117614" y="31554"/>
                      <a:pt x="117165" y="31405"/>
                      <a:pt x="116475" y="31405"/>
                    </a:cubicBezTo>
                    <a:cubicBezTo>
                      <a:pt x="113272" y="31405"/>
                      <a:pt x="104861" y="34623"/>
                      <a:pt x="95519" y="39582"/>
                    </a:cubicBezTo>
                    <a:cubicBezTo>
                      <a:pt x="94635" y="40056"/>
                      <a:pt x="93749" y="40528"/>
                      <a:pt x="92885" y="41002"/>
                    </a:cubicBezTo>
                    <a:lnTo>
                      <a:pt x="86653" y="37258"/>
                    </a:lnTo>
                    <a:cubicBezTo>
                      <a:pt x="86919" y="37134"/>
                      <a:pt x="87188" y="36990"/>
                      <a:pt x="87476" y="36846"/>
                    </a:cubicBezTo>
                    <a:cubicBezTo>
                      <a:pt x="94819" y="32938"/>
                      <a:pt x="100272" y="28843"/>
                      <a:pt x="99674" y="27691"/>
                    </a:cubicBezTo>
                    <a:cubicBezTo>
                      <a:pt x="99564" y="27486"/>
                      <a:pt x="99270" y="27389"/>
                      <a:pt x="98819" y="27389"/>
                    </a:cubicBezTo>
                    <a:cubicBezTo>
                      <a:pt x="96732" y="27389"/>
                      <a:pt x="91292" y="29473"/>
                      <a:pt x="85254" y="32669"/>
                    </a:cubicBezTo>
                    <a:cubicBezTo>
                      <a:pt x="84122" y="33287"/>
                      <a:pt x="83032" y="33884"/>
                      <a:pt x="82003" y="34480"/>
                    </a:cubicBezTo>
                    <a:lnTo>
                      <a:pt x="73569" y="29440"/>
                    </a:lnTo>
                    <a:cubicBezTo>
                      <a:pt x="80605" y="25634"/>
                      <a:pt x="85748" y="21725"/>
                      <a:pt x="85150" y="20614"/>
                    </a:cubicBezTo>
                    <a:cubicBezTo>
                      <a:pt x="85044" y="20409"/>
                      <a:pt x="84753" y="20312"/>
                      <a:pt x="84305" y="20312"/>
                    </a:cubicBezTo>
                    <a:cubicBezTo>
                      <a:pt x="82231" y="20312"/>
                      <a:pt x="76790" y="22400"/>
                      <a:pt x="70750" y="25614"/>
                    </a:cubicBezTo>
                    <a:cubicBezTo>
                      <a:pt x="70113" y="25943"/>
                      <a:pt x="69496" y="26292"/>
                      <a:pt x="68878" y="26621"/>
                    </a:cubicBezTo>
                    <a:lnTo>
                      <a:pt x="68878" y="26621"/>
                    </a:lnTo>
                    <a:lnTo>
                      <a:pt x="2444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40"/>
              <p:cNvSpPr/>
              <p:nvPr/>
            </p:nvSpPr>
            <p:spPr>
              <a:xfrm>
                <a:off x="4286848" y="1607173"/>
                <a:ext cx="3675555" cy="3078221"/>
              </a:xfrm>
              <a:custGeom>
                <a:avLst/>
                <a:gdLst/>
                <a:ahLst/>
                <a:cxnLst/>
                <a:rect l="l" t="t" r="r" b="b"/>
                <a:pathLst>
                  <a:path w="170421" h="142725" extrusionOk="0">
                    <a:moveTo>
                      <a:pt x="170421" y="1"/>
                    </a:moveTo>
                    <a:lnTo>
                      <a:pt x="63" y="88914"/>
                    </a:lnTo>
                    <a:lnTo>
                      <a:pt x="63" y="88914"/>
                    </a:lnTo>
                    <a:cubicBezTo>
                      <a:pt x="0" y="89243"/>
                      <a:pt x="0" y="89531"/>
                      <a:pt x="124" y="89758"/>
                    </a:cubicBezTo>
                    <a:cubicBezTo>
                      <a:pt x="423" y="90320"/>
                      <a:pt x="1237" y="90589"/>
                      <a:pt x="2515" y="90589"/>
                    </a:cubicBezTo>
                    <a:cubicBezTo>
                      <a:pt x="4841" y="90589"/>
                      <a:pt x="8706" y="89697"/>
                      <a:pt x="13805" y="88050"/>
                    </a:cubicBezTo>
                    <a:lnTo>
                      <a:pt x="15306" y="107245"/>
                    </a:lnTo>
                    <a:cubicBezTo>
                      <a:pt x="15384" y="108182"/>
                      <a:pt x="16167" y="108897"/>
                      <a:pt x="17090" y="108897"/>
                    </a:cubicBezTo>
                    <a:cubicBezTo>
                      <a:pt x="17140" y="108897"/>
                      <a:pt x="17190" y="108895"/>
                      <a:pt x="17240" y="108891"/>
                    </a:cubicBezTo>
                    <a:lnTo>
                      <a:pt x="35097" y="79801"/>
                    </a:lnTo>
                    <a:cubicBezTo>
                      <a:pt x="50383" y="73238"/>
                      <a:pt x="69452" y="64043"/>
                      <a:pt x="89819" y="53222"/>
                    </a:cubicBezTo>
                    <a:lnTo>
                      <a:pt x="90189" y="53036"/>
                    </a:lnTo>
                    <a:lnTo>
                      <a:pt x="106565" y="136683"/>
                    </a:lnTo>
                    <a:cubicBezTo>
                      <a:pt x="107237" y="140103"/>
                      <a:pt x="108726" y="142724"/>
                      <a:pt x="109918" y="142724"/>
                    </a:cubicBezTo>
                    <a:cubicBezTo>
                      <a:pt x="109966" y="142724"/>
                      <a:pt x="110014" y="142720"/>
                      <a:pt x="110062" y="142711"/>
                    </a:cubicBezTo>
                    <a:lnTo>
                      <a:pt x="112799" y="92556"/>
                    </a:lnTo>
                    <a:cubicBezTo>
                      <a:pt x="113641" y="92123"/>
                      <a:pt x="114505" y="91692"/>
                      <a:pt x="115391" y="91218"/>
                    </a:cubicBezTo>
                    <a:cubicBezTo>
                      <a:pt x="122734" y="87331"/>
                      <a:pt x="128187" y="83236"/>
                      <a:pt x="127570" y="82084"/>
                    </a:cubicBezTo>
                    <a:cubicBezTo>
                      <a:pt x="127463" y="81878"/>
                      <a:pt x="127170" y="81780"/>
                      <a:pt x="126718" y="81780"/>
                    </a:cubicBezTo>
                    <a:cubicBezTo>
                      <a:pt x="124642" y="81780"/>
                      <a:pt x="119221" y="83852"/>
                      <a:pt x="113189" y="87063"/>
                    </a:cubicBezTo>
                    <a:cubicBezTo>
                      <a:pt x="113148" y="87084"/>
                      <a:pt x="113128" y="87104"/>
                      <a:pt x="113087" y="87104"/>
                    </a:cubicBezTo>
                    <a:lnTo>
                      <a:pt x="113622" y="77250"/>
                    </a:lnTo>
                    <a:cubicBezTo>
                      <a:pt x="114917" y="76653"/>
                      <a:pt x="116255" y="75975"/>
                      <a:pt x="117654" y="75234"/>
                    </a:cubicBezTo>
                    <a:cubicBezTo>
                      <a:pt x="124997" y="71345"/>
                      <a:pt x="130450" y="67252"/>
                      <a:pt x="129833" y="66100"/>
                    </a:cubicBezTo>
                    <a:cubicBezTo>
                      <a:pt x="129723" y="65895"/>
                      <a:pt x="129429" y="65798"/>
                      <a:pt x="128978" y="65798"/>
                    </a:cubicBezTo>
                    <a:cubicBezTo>
                      <a:pt x="126896" y="65798"/>
                      <a:pt x="121469" y="67882"/>
                      <a:pt x="115432" y="71079"/>
                    </a:cubicBezTo>
                    <a:cubicBezTo>
                      <a:pt x="114917" y="71367"/>
                      <a:pt x="114403" y="71633"/>
                      <a:pt x="113910" y="71921"/>
                    </a:cubicBezTo>
                    <a:lnTo>
                      <a:pt x="114300" y="64619"/>
                    </a:lnTo>
                    <a:cubicBezTo>
                      <a:pt x="115411" y="64063"/>
                      <a:pt x="116543" y="63487"/>
                      <a:pt x="117674" y="62870"/>
                    </a:cubicBezTo>
                    <a:cubicBezTo>
                      <a:pt x="129010" y="56863"/>
                      <a:pt x="137444" y="50548"/>
                      <a:pt x="136498" y="48757"/>
                    </a:cubicBezTo>
                    <a:cubicBezTo>
                      <a:pt x="136331" y="48442"/>
                      <a:pt x="135880" y="48292"/>
                      <a:pt x="135187" y="48292"/>
                    </a:cubicBezTo>
                    <a:cubicBezTo>
                      <a:pt x="132034" y="48292"/>
                      <a:pt x="123877" y="51398"/>
                      <a:pt x="114752" y="56204"/>
                    </a:cubicBezTo>
                    <a:lnTo>
                      <a:pt x="114752" y="56204"/>
                    </a:lnTo>
                    <a:lnTo>
                      <a:pt x="115699" y="38965"/>
                    </a:lnTo>
                    <a:cubicBezTo>
                      <a:pt x="147791" y="20532"/>
                      <a:pt x="170236" y="4754"/>
                      <a:pt x="1704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40"/>
              <p:cNvSpPr/>
              <p:nvPr/>
            </p:nvSpPr>
            <p:spPr>
              <a:xfrm>
                <a:off x="7647367" y="1641789"/>
                <a:ext cx="157982" cy="168636"/>
              </a:xfrm>
              <a:custGeom>
                <a:avLst/>
                <a:gdLst/>
                <a:ahLst/>
                <a:cxnLst/>
                <a:rect l="l" t="t" r="r" b="b"/>
                <a:pathLst>
                  <a:path w="7325" h="7819" extrusionOk="0">
                    <a:moveTo>
                      <a:pt x="3498" y="1"/>
                    </a:moveTo>
                    <a:lnTo>
                      <a:pt x="1" y="1421"/>
                    </a:lnTo>
                    <a:cubicBezTo>
                      <a:pt x="3498" y="3128"/>
                      <a:pt x="3684" y="7818"/>
                      <a:pt x="3684" y="7818"/>
                    </a:cubicBezTo>
                    <a:lnTo>
                      <a:pt x="7016" y="5226"/>
                    </a:lnTo>
                    <a:cubicBezTo>
                      <a:pt x="7324" y="680"/>
                      <a:pt x="3498" y="1"/>
                      <a:pt x="34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40"/>
              <p:cNvSpPr/>
              <p:nvPr/>
            </p:nvSpPr>
            <p:spPr>
              <a:xfrm>
                <a:off x="7647367" y="1641789"/>
                <a:ext cx="157982" cy="113186"/>
              </a:xfrm>
              <a:custGeom>
                <a:avLst/>
                <a:gdLst/>
                <a:ahLst/>
                <a:cxnLst/>
                <a:rect l="l" t="t" r="r" b="b"/>
                <a:pathLst>
                  <a:path w="7325" h="5248" extrusionOk="0">
                    <a:moveTo>
                      <a:pt x="3498" y="1"/>
                    </a:moveTo>
                    <a:lnTo>
                      <a:pt x="1" y="1421"/>
                    </a:lnTo>
                    <a:cubicBezTo>
                      <a:pt x="195" y="1419"/>
                      <a:pt x="390" y="1418"/>
                      <a:pt x="585" y="1418"/>
                    </a:cubicBezTo>
                    <a:cubicBezTo>
                      <a:pt x="2807" y="1418"/>
                      <a:pt x="5034" y="1605"/>
                      <a:pt x="6358" y="3704"/>
                    </a:cubicBezTo>
                    <a:cubicBezTo>
                      <a:pt x="6666" y="4197"/>
                      <a:pt x="6872" y="4712"/>
                      <a:pt x="6995" y="5247"/>
                    </a:cubicBezTo>
                    <a:lnTo>
                      <a:pt x="7016" y="5226"/>
                    </a:lnTo>
                    <a:cubicBezTo>
                      <a:pt x="7324" y="680"/>
                      <a:pt x="3498" y="1"/>
                      <a:pt x="349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40"/>
              <p:cNvSpPr/>
              <p:nvPr/>
            </p:nvSpPr>
            <p:spPr>
              <a:xfrm>
                <a:off x="5940040" y="2183564"/>
                <a:ext cx="524047" cy="193008"/>
              </a:xfrm>
              <a:custGeom>
                <a:avLst/>
                <a:gdLst/>
                <a:ahLst/>
                <a:cxnLst/>
                <a:rect l="l" t="t" r="r" b="b"/>
                <a:pathLst>
                  <a:path w="24298" h="8949" extrusionOk="0">
                    <a:moveTo>
                      <a:pt x="1" y="4485"/>
                    </a:moveTo>
                    <a:cubicBezTo>
                      <a:pt x="3" y="4488"/>
                      <a:pt x="6" y="4491"/>
                      <a:pt x="9" y="4493"/>
                    </a:cubicBezTo>
                    <a:lnTo>
                      <a:pt x="9" y="4493"/>
                    </a:lnTo>
                    <a:lnTo>
                      <a:pt x="1" y="4485"/>
                    </a:lnTo>
                    <a:close/>
                    <a:moveTo>
                      <a:pt x="24297" y="0"/>
                    </a:moveTo>
                    <a:cubicBezTo>
                      <a:pt x="24296" y="1"/>
                      <a:pt x="10841" y="5515"/>
                      <a:pt x="3703" y="5515"/>
                    </a:cubicBezTo>
                    <a:cubicBezTo>
                      <a:pt x="2052" y="5515"/>
                      <a:pt x="740" y="5220"/>
                      <a:pt x="9" y="4493"/>
                    </a:cubicBezTo>
                    <a:lnTo>
                      <a:pt x="9" y="4493"/>
                    </a:lnTo>
                    <a:lnTo>
                      <a:pt x="4466" y="8948"/>
                    </a:lnTo>
                    <a:lnTo>
                      <a:pt x="242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40"/>
              <p:cNvSpPr/>
              <p:nvPr/>
            </p:nvSpPr>
            <p:spPr>
              <a:xfrm>
                <a:off x="6223998" y="2751480"/>
                <a:ext cx="35975" cy="145559"/>
              </a:xfrm>
              <a:custGeom>
                <a:avLst/>
                <a:gdLst/>
                <a:ahLst/>
                <a:cxnLst/>
                <a:rect l="l" t="t" r="r" b="b"/>
                <a:pathLst>
                  <a:path w="1668" h="6749" extrusionOk="0">
                    <a:moveTo>
                      <a:pt x="330" y="1"/>
                    </a:moveTo>
                    <a:cubicBezTo>
                      <a:pt x="228" y="61"/>
                      <a:pt x="104" y="103"/>
                      <a:pt x="1" y="165"/>
                    </a:cubicBezTo>
                    <a:lnTo>
                      <a:pt x="1668" y="6748"/>
                    </a:lnTo>
                    <a:lnTo>
                      <a:pt x="330" y="1"/>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40"/>
              <p:cNvSpPr/>
              <p:nvPr/>
            </p:nvSpPr>
            <p:spPr>
              <a:xfrm>
                <a:off x="6231094" y="2751027"/>
                <a:ext cx="32438" cy="161088"/>
              </a:xfrm>
              <a:custGeom>
                <a:avLst/>
                <a:gdLst/>
                <a:ahLst/>
                <a:cxnLst/>
                <a:rect l="l" t="t" r="r" b="b"/>
                <a:pathLst>
                  <a:path w="1504" h="7469" extrusionOk="0">
                    <a:moveTo>
                      <a:pt x="42" y="0"/>
                    </a:moveTo>
                    <a:cubicBezTo>
                      <a:pt x="22" y="0"/>
                      <a:pt x="22" y="0"/>
                      <a:pt x="1" y="22"/>
                    </a:cubicBezTo>
                    <a:lnTo>
                      <a:pt x="1339" y="6769"/>
                    </a:lnTo>
                    <a:lnTo>
                      <a:pt x="1504" y="7469"/>
                    </a:lnTo>
                    <a:lnTo>
                      <a:pt x="42" y="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40"/>
              <p:cNvSpPr/>
              <p:nvPr/>
            </p:nvSpPr>
            <p:spPr>
              <a:xfrm>
                <a:off x="6223998" y="2502116"/>
                <a:ext cx="436612" cy="409998"/>
              </a:xfrm>
              <a:custGeom>
                <a:avLst/>
                <a:gdLst/>
                <a:ahLst/>
                <a:cxnLst/>
                <a:rect l="l" t="t" r="r" b="b"/>
                <a:pathLst>
                  <a:path w="20244" h="19010" extrusionOk="0">
                    <a:moveTo>
                      <a:pt x="26" y="11713"/>
                    </a:moveTo>
                    <a:lnTo>
                      <a:pt x="26" y="11713"/>
                    </a:lnTo>
                    <a:cubicBezTo>
                      <a:pt x="17" y="11717"/>
                      <a:pt x="9" y="11722"/>
                      <a:pt x="1" y="11727"/>
                    </a:cubicBezTo>
                    <a:lnTo>
                      <a:pt x="26" y="11713"/>
                    </a:lnTo>
                    <a:close/>
                    <a:moveTo>
                      <a:pt x="20244" y="1"/>
                    </a:moveTo>
                    <a:lnTo>
                      <a:pt x="26" y="11713"/>
                    </a:lnTo>
                    <a:lnTo>
                      <a:pt x="26" y="11713"/>
                    </a:lnTo>
                    <a:cubicBezTo>
                      <a:pt x="124" y="11658"/>
                      <a:pt x="236" y="11619"/>
                      <a:pt x="330" y="11563"/>
                    </a:cubicBezTo>
                    <a:cubicBezTo>
                      <a:pt x="351" y="11541"/>
                      <a:pt x="351" y="11541"/>
                      <a:pt x="371" y="11541"/>
                    </a:cubicBezTo>
                    <a:lnTo>
                      <a:pt x="1833" y="19010"/>
                    </a:lnTo>
                    <a:cubicBezTo>
                      <a:pt x="3355" y="11151"/>
                      <a:pt x="20242" y="2"/>
                      <a:pt x="2024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40"/>
              <p:cNvSpPr/>
              <p:nvPr/>
            </p:nvSpPr>
            <p:spPr>
              <a:xfrm>
                <a:off x="5976878" y="1907997"/>
                <a:ext cx="347884" cy="119743"/>
              </a:xfrm>
              <a:custGeom>
                <a:avLst/>
                <a:gdLst/>
                <a:ahLst/>
                <a:cxnLst/>
                <a:rect l="l" t="t" r="r" b="b"/>
                <a:pathLst>
                  <a:path w="16130" h="5552" extrusionOk="0">
                    <a:moveTo>
                      <a:pt x="14895" y="1"/>
                    </a:moveTo>
                    <a:cubicBezTo>
                      <a:pt x="14895" y="1"/>
                      <a:pt x="7966" y="4736"/>
                      <a:pt x="3060" y="4736"/>
                    </a:cubicBezTo>
                    <a:cubicBezTo>
                      <a:pt x="1883" y="4736"/>
                      <a:pt x="821" y="4463"/>
                      <a:pt x="1" y="3786"/>
                    </a:cubicBezTo>
                    <a:lnTo>
                      <a:pt x="1" y="3786"/>
                    </a:lnTo>
                    <a:cubicBezTo>
                      <a:pt x="1" y="3786"/>
                      <a:pt x="739" y="5551"/>
                      <a:pt x="3856" y="5551"/>
                    </a:cubicBezTo>
                    <a:cubicBezTo>
                      <a:pt x="6268" y="5551"/>
                      <a:pt x="10106" y="4494"/>
                      <a:pt x="16130" y="742"/>
                    </a:cubicBezTo>
                    <a:lnTo>
                      <a:pt x="148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40"/>
              <p:cNvSpPr/>
              <p:nvPr/>
            </p:nvSpPr>
            <p:spPr>
              <a:xfrm>
                <a:off x="4550856" y="3032785"/>
                <a:ext cx="336777" cy="231635"/>
              </a:xfrm>
              <a:custGeom>
                <a:avLst/>
                <a:gdLst/>
                <a:ahLst/>
                <a:cxnLst/>
                <a:rect l="l" t="t" r="r" b="b"/>
                <a:pathLst>
                  <a:path w="15615" h="10740" extrusionOk="0">
                    <a:moveTo>
                      <a:pt x="7797" y="0"/>
                    </a:moveTo>
                    <a:lnTo>
                      <a:pt x="7797" y="0"/>
                    </a:lnTo>
                    <a:cubicBezTo>
                      <a:pt x="11357" y="2406"/>
                      <a:pt x="1" y="10739"/>
                      <a:pt x="1" y="10739"/>
                    </a:cubicBezTo>
                    <a:lnTo>
                      <a:pt x="15614" y="349"/>
                    </a:lnTo>
                    <a:lnTo>
                      <a:pt x="779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40"/>
              <p:cNvSpPr/>
              <p:nvPr/>
            </p:nvSpPr>
            <p:spPr>
              <a:xfrm>
                <a:off x="4630268" y="3328281"/>
                <a:ext cx="413535" cy="157982"/>
              </a:xfrm>
              <a:custGeom>
                <a:avLst/>
                <a:gdLst/>
                <a:ahLst/>
                <a:cxnLst/>
                <a:rect l="l" t="t" r="r" b="b"/>
                <a:pathLst>
                  <a:path w="19174" h="7325" extrusionOk="0">
                    <a:moveTo>
                      <a:pt x="19174" y="0"/>
                    </a:moveTo>
                    <a:lnTo>
                      <a:pt x="0" y="7324"/>
                    </a:lnTo>
                    <a:cubicBezTo>
                      <a:pt x="4260" y="6008"/>
                      <a:pt x="7304" y="5555"/>
                      <a:pt x="9485" y="5555"/>
                    </a:cubicBezTo>
                    <a:cubicBezTo>
                      <a:pt x="13825" y="5555"/>
                      <a:pt x="14689" y="7324"/>
                      <a:pt x="14689" y="7324"/>
                    </a:cubicBezTo>
                    <a:lnTo>
                      <a:pt x="191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40"/>
              <p:cNvSpPr/>
              <p:nvPr/>
            </p:nvSpPr>
            <p:spPr>
              <a:xfrm>
                <a:off x="5741727" y="1733645"/>
                <a:ext cx="300845" cy="110210"/>
              </a:xfrm>
              <a:custGeom>
                <a:avLst/>
                <a:gdLst/>
                <a:ahLst/>
                <a:cxnLst/>
                <a:rect l="l" t="t" r="r" b="b"/>
                <a:pathLst>
                  <a:path w="13949" h="5110" extrusionOk="0">
                    <a:moveTo>
                      <a:pt x="12303" y="1"/>
                    </a:moveTo>
                    <a:cubicBezTo>
                      <a:pt x="12303" y="1"/>
                      <a:pt x="5931" y="4197"/>
                      <a:pt x="2044" y="4197"/>
                    </a:cubicBezTo>
                    <a:cubicBezTo>
                      <a:pt x="1225" y="4197"/>
                      <a:pt x="516" y="4010"/>
                      <a:pt x="1" y="3559"/>
                    </a:cubicBezTo>
                    <a:lnTo>
                      <a:pt x="1" y="3559"/>
                    </a:lnTo>
                    <a:cubicBezTo>
                      <a:pt x="1" y="3559"/>
                      <a:pt x="291" y="5110"/>
                      <a:pt x="2911" y="5110"/>
                    </a:cubicBezTo>
                    <a:cubicBezTo>
                      <a:pt x="4918" y="5110"/>
                      <a:pt x="8292" y="4200"/>
                      <a:pt x="13949" y="988"/>
                    </a:cubicBezTo>
                    <a:lnTo>
                      <a:pt x="1230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40"/>
              <p:cNvSpPr/>
              <p:nvPr/>
            </p:nvSpPr>
            <p:spPr>
              <a:xfrm>
                <a:off x="5495038" y="1565052"/>
                <a:ext cx="246711" cy="82151"/>
              </a:xfrm>
              <a:custGeom>
                <a:avLst/>
                <a:gdLst/>
                <a:ahLst/>
                <a:cxnLst/>
                <a:rect l="l" t="t" r="r" b="b"/>
                <a:pathLst>
                  <a:path w="11439" h="3809" extrusionOk="0">
                    <a:moveTo>
                      <a:pt x="10657" y="0"/>
                    </a:moveTo>
                    <a:cubicBezTo>
                      <a:pt x="10657" y="0"/>
                      <a:pt x="6835" y="3289"/>
                      <a:pt x="3293" y="3289"/>
                    </a:cubicBezTo>
                    <a:cubicBezTo>
                      <a:pt x="2114" y="3289"/>
                      <a:pt x="966" y="2925"/>
                      <a:pt x="0" y="1954"/>
                    </a:cubicBezTo>
                    <a:lnTo>
                      <a:pt x="0" y="1954"/>
                    </a:lnTo>
                    <a:cubicBezTo>
                      <a:pt x="1" y="1954"/>
                      <a:pt x="1007" y="3808"/>
                      <a:pt x="3740" y="3808"/>
                    </a:cubicBezTo>
                    <a:cubicBezTo>
                      <a:pt x="5513" y="3808"/>
                      <a:pt x="8014" y="3027"/>
                      <a:pt x="11439" y="453"/>
                    </a:cubicBezTo>
                    <a:lnTo>
                      <a:pt x="1065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40"/>
              <p:cNvSpPr/>
              <p:nvPr/>
            </p:nvSpPr>
            <p:spPr>
              <a:xfrm>
                <a:off x="6415259" y="3000843"/>
                <a:ext cx="336755" cy="98930"/>
              </a:xfrm>
              <a:custGeom>
                <a:avLst/>
                <a:gdLst/>
                <a:ahLst/>
                <a:cxnLst/>
                <a:rect l="l" t="t" r="r" b="b"/>
                <a:pathLst>
                  <a:path w="15614" h="4587" extrusionOk="0">
                    <a:moveTo>
                      <a:pt x="0" y="2798"/>
                    </a:moveTo>
                    <a:cubicBezTo>
                      <a:pt x="596" y="3517"/>
                      <a:pt x="1440" y="3929"/>
                      <a:pt x="2448" y="4073"/>
                    </a:cubicBezTo>
                    <a:cubicBezTo>
                      <a:pt x="823" y="3558"/>
                      <a:pt x="0" y="2798"/>
                      <a:pt x="0" y="2798"/>
                    </a:cubicBezTo>
                    <a:close/>
                    <a:moveTo>
                      <a:pt x="15614" y="0"/>
                    </a:moveTo>
                    <a:cubicBezTo>
                      <a:pt x="15613" y="0"/>
                      <a:pt x="8454" y="4156"/>
                      <a:pt x="3558" y="4156"/>
                    </a:cubicBezTo>
                    <a:cubicBezTo>
                      <a:pt x="3168" y="4156"/>
                      <a:pt x="2798" y="4134"/>
                      <a:pt x="2448" y="4073"/>
                    </a:cubicBezTo>
                    <a:lnTo>
                      <a:pt x="2448" y="4073"/>
                    </a:lnTo>
                    <a:cubicBezTo>
                      <a:pt x="3333" y="4361"/>
                      <a:pt x="4444" y="4587"/>
                      <a:pt x="5802" y="4587"/>
                    </a:cubicBezTo>
                    <a:cubicBezTo>
                      <a:pt x="8270" y="4587"/>
                      <a:pt x="11499" y="3868"/>
                      <a:pt x="15531" y="1481"/>
                    </a:cubicBezTo>
                    <a:lnTo>
                      <a:pt x="1561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40"/>
              <p:cNvSpPr/>
              <p:nvPr/>
            </p:nvSpPr>
            <p:spPr>
              <a:xfrm>
                <a:off x="6761762" y="2786096"/>
                <a:ext cx="1790" cy="33279"/>
              </a:xfrm>
              <a:custGeom>
                <a:avLst/>
                <a:gdLst/>
                <a:ahLst/>
                <a:cxnLst/>
                <a:rect l="l" t="t" r="r" b="b"/>
                <a:pathLst>
                  <a:path w="83" h="1543" extrusionOk="0">
                    <a:moveTo>
                      <a:pt x="83" y="0"/>
                    </a:moveTo>
                    <a:lnTo>
                      <a:pt x="83" y="0"/>
                    </a:lnTo>
                    <a:lnTo>
                      <a:pt x="0" y="1542"/>
                    </a:lnTo>
                    <a:lnTo>
                      <a:pt x="0" y="1542"/>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40"/>
              <p:cNvSpPr/>
              <p:nvPr/>
            </p:nvSpPr>
            <p:spPr>
              <a:xfrm>
                <a:off x="6486669" y="2786096"/>
                <a:ext cx="276884" cy="147737"/>
              </a:xfrm>
              <a:custGeom>
                <a:avLst/>
                <a:gdLst/>
                <a:ahLst/>
                <a:cxnLst/>
                <a:rect l="l" t="t" r="r" b="b"/>
                <a:pathLst>
                  <a:path w="12838" h="6850" extrusionOk="0">
                    <a:moveTo>
                      <a:pt x="12838" y="0"/>
                    </a:moveTo>
                    <a:lnTo>
                      <a:pt x="1" y="6850"/>
                    </a:lnTo>
                    <a:cubicBezTo>
                      <a:pt x="3149" y="5739"/>
                      <a:pt x="12755" y="1542"/>
                      <a:pt x="12755" y="1542"/>
                    </a:cubicBezTo>
                    <a:lnTo>
                      <a:pt x="12838"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40"/>
              <p:cNvSpPr/>
              <p:nvPr/>
            </p:nvSpPr>
            <p:spPr>
              <a:xfrm>
                <a:off x="6735601" y="3273694"/>
                <a:ext cx="1790" cy="32847"/>
              </a:xfrm>
              <a:custGeom>
                <a:avLst/>
                <a:gdLst/>
                <a:ahLst/>
                <a:cxnLst/>
                <a:rect l="l" t="t" r="r" b="b"/>
                <a:pathLst>
                  <a:path w="83" h="1523" extrusionOk="0">
                    <a:moveTo>
                      <a:pt x="83" y="0"/>
                    </a:moveTo>
                    <a:lnTo>
                      <a:pt x="0" y="1523"/>
                    </a:lnTo>
                    <a:cubicBezTo>
                      <a:pt x="20" y="1503"/>
                      <a:pt x="42" y="1503"/>
                      <a:pt x="83" y="1481"/>
                    </a:cubicBezTo>
                    <a:lnTo>
                      <a:pt x="83" y="0"/>
                    </a:ln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40"/>
              <p:cNvSpPr/>
              <p:nvPr/>
            </p:nvSpPr>
            <p:spPr>
              <a:xfrm>
                <a:off x="6737369" y="3273262"/>
                <a:ext cx="22" cy="453"/>
              </a:xfrm>
              <a:custGeom>
                <a:avLst/>
                <a:gdLst/>
                <a:ahLst/>
                <a:cxnLst/>
                <a:rect l="l" t="t" r="r" b="b"/>
                <a:pathLst>
                  <a:path w="1" h="21" extrusionOk="0">
                    <a:moveTo>
                      <a:pt x="1" y="0"/>
                    </a:moveTo>
                    <a:lnTo>
                      <a:pt x="1" y="0"/>
                    </a:lnTo>
                    <a:lnTo>
                      <a:pt x="1" y="20"/>
                    </a:lnTo>
                    <a:lnTo>
                      <a:pt x="1" y="20"/>
                    </a:ln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40"/>
              <p:cNvSpPr/>
              <p:nvPr/>
            </p:nvSpPr>
            <p:spPr>
              <a:xfrm>
                <a:off x="6463613" y="3273262"/>
                <a:ext cx="273778" cy="79886"/>
              </a:xfrm>
              <a:custGeom>
                <a:avLst/>
                <a:gdLst/>
                <a:ahLst/>
                <a:cxnLst/>
                <a:rect l="l" t="t" r="r" b="b"/>
                <a:pathLst>
                  <a:path w="12694" h="3704" extrusionOk="0">
                    <a:moveTo>
                      <a:pt x="12694" y="0"/>
                    </a:moveTo>
                    <a:cubicBezTo>
                      <a:pt x="12694" y="0"/>
                      <a:pt x="6912" y="3004"/>
                      <a:pt x="3066" y="3004"/>
                    </a:cubicBezTo>
                    <a:cubicBezTo>
                      <a:pt x="1708" y="3004"/>
                      <a:pt x="576" y="2634"/>
                      <a:pt x="21" y="1625"/>
                    </a:cubicBezTo>
                    <a:lnTo>
                      <a:pt x="21" y="1625"/>
                    </a:lnTo>
                    <a:cubicBezTo>
                      <a:pt x="21" y="1625"/>
                      <a:pt x="0" y="3703"/>
                      <a:pt x="3662" y="3703"/>
                    </a:cubicBezTo>
                    <a:cubicBezTo>
                      <a:pt x="5513" y="3703"/>
                      <a:pt x="8332" y="3169"/>
                      <a:pt x="12611" y="1543"/>
                    </a:cubicBezTo>
                    <a:lnTo>
                      <a:pt x="12694" y="20"/>
                    </a:lnTo>
                    <a:lnTo>
                      <a:pt x="1269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40"/>
              <p:cNvSpPr/>
              <p:nvPr/>
            </p:nvSpPr>
            <p:spPr>
              <a:xfrm>
                <a:off x="6510630" y="3603375"/>
                <a:ext cx="209011" cy="79886"/>
              </a:xfrm>
              <a:custGeom>
                <a:avLst/>
                <a:gdLst/>
                <a:ahLst/>
                <a:cxnLst/>
                <a:rect l="l" t="t" r="r" b="b"/>
                <a:pathLst>
                  <a:path w="9691" h="3704" extrusionOk="0">
                    <a:moveTo>
                      <a:pt x="9691" y="0"/>
                    </a:moveTo>
                    <a:lnTo>
                      <a:pt x="9691" y="0"/>
                    </a:lnTo>
                    <a:cubicBezTo>
                      <a:pt x="9691" y="0"/>
                      <a:pt x="5124" y="3292"/>
                      <a:pt x="1709" y="3292"/>
                    </a:cubicBezTo>
                    <a:cubicBezTo>
                      <a:pt x="1092" y="3292"/>
                      <a:pt x="516" y="3188"/>
                      <a:pt x="0" y="2941"/>
                    </a:cubicBezTo>
                    <a:lnTo>
                      <a:pt x="0" y="2941"/>
                    </a:lnTo>
                    <a:cubicBezTo>
                      <a:pt x="1" y="2941"/>
                      <a:pt x="1029" y="3703"/>
                      <a:pt x="3086" y="3703"/>
                    </a:cubicBezTo>
                    <a:cubicBezTo>
                      <a:pt x="4650" y="3703"/>
                      <a:pt x="6811" y="3251"/>
                      <a:pt x="9567" y="1646"/>
                    </a:cubicBezTo>
                    <a:lnTo>
                      <a:pt x="969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40"/>
              <p:cNvSpPr/>
              <p:nvPr/>
            </p:nvSpPr>
            <p:spPr>
              <a:xfrm>
                <a:off x="4908898" y="1244710"/>
                <a:ext cx="1177154" cy="969459"/>
              </a:xfrm>
              <a:custGeom>
                <a:avLst/>
                <a:gdLst/>
                <a:ahLst/>
                <a:cxnLst/>
                <a:rect l="l" t="t" r="r" b="b"/>
                <a:pathLst>
                  <a:path w="54580" h="44950" extrusionOk="0">
                    <a:moveTo>
                      <a:pt x="187" y="0"/>
                    </a:moveTo>
                    <a:cubicBezTo>
                      <a:pt x="83" y="0"/>
                      <a:pt x="1" y="83"/>
                      <a:pt x="1" y="185"/>
                    </a:cubicBezTo>
                    <a:cubicBezTo>
                      <a:pt x="1" y="288"/>
                      <a:pt x="83" y="371"/>
                      <a:pt x="187" y="371"/>
                    </a:cubicBezTo>
                    <a:lnTo>
                      <a:pt x="3333" y="371"/>
                    </a:lnTo>
                    <a:lnTo>
                      <a:pt x="54270" y="44889"/>
                    </a:lnTo>
                    <a:cubicBezTo>
                      <a:pt x="54292" y="44930"/>
                      <a:pt x="54333" y="44950"/>
                      <a:pt x="54374" y="44950"/>
                    </a:cubicBezTo>
                    <a:cubicBezTo>
                      <a:pt x="54435" y="44950"/>
                      <a:pt x="54476" y="44930"/>
                      <a:pt x="54517" y="44889"/>
                    </a:cubicBezTo>
                    <a:cubicBezTo>
                      <a:pt x="54580" y="44807"/>
                      <a:pt x="54580" y="44683"/>
                      <a:pt x="54497" y="44621"/>
                    </a:cubicBezTo>
                    <a:lnTo>
                      <a:pt x="3519" y="41"/>
                    </a:lnTo>
                    <a:cubicBezTo>
                      <a:pt x="3498" y="20"/>
                      <a:pt x="3457" y="0"/>
                      <a:pt x="339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40"/>
              <p:cNvSpPr/>
              <p:nvPr/>
            </p:nvSpPr>
            <p:spPr>
              <a:xfrm>
                <a:off x="5215933" y="1521658"/>
                <a:ext cx="87456" cy="39857"/>
              </a:xfrm>
              <a:custGeom>
                <a:avLst/>
                <a:gdLst/>
                <a:ahLst/>
                <a:cxnLst/>
                <a:rect l="l" t="t" r="r" b="b"/>
                <a:pathLst>
                  <a:path w="4055" h="1848" extrusionOk="0">
                    <a:moveTo>
                      <a:pt x="3856" y="0"/>
                    </a:moveTo>
                    <a:cubicBezTo>
                      <a:pt x="3831" y="0"/>
                      <a:pt x="3807" y="5"/>
                      <a:pt x="3786" y="16"/>
                    </a:cubicBezTo>
                    <a:lnTo>
                      <a:pt x="145" y="1497"/>
                    </a:lnTo>
                    <a:cubicBezTo>
                      <a:pt x="63" y="1519"/>
                      <a:pt x="1" y="1642"/>
                      <a:pt x="42" y="1724"/>
                    </a:cubicBezTo>
                    <a:cubicBezTo>
                      <a:pt x="83" y="1807"/>
                      <a:pt x="145" y="1848"/>
                      <a:pt x="228" y="1848"/>
                    </a:cubicBezTo>
                    <a:cubicBezTo>
                      <a:pt x="248" y="1848"/>
                      <a:pt x="269" y="1848"/>
                      <a:pt x="289" y="1826"/>
                    </a:cubicBezTo>
                    <a:lnTo>
                      <a:pt x="3931" y="345"/>
                    </a:lnTo>
                    <a:cubicBezTo>
                      <a:pt x="4013" y="326"/>
                      <a:pt x="4054" y="202"/>
                      <a:pt x="4033" y="120"/>
                    </a:cubicBezTo>
                    <a:cubicBezTo>
                      <a:pt x="4002" y="43"/>
                      <a:pt x="3926" y="0"/>
                      <a:pt x="385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40"/>
              <p:cNvSpPr/>
              <p:nvPr/>
            </p:nvSpPr>
            <p:spPr>
              <a:xfrm>
                <a:off x="5533191" y="1806500"/>
                <a:ext cx="89656" cy="41194"/>
              </a:xfrm>
              <a:custGeom>
                <a:avLst/>
                <a:gdLst/>
                <a:ahLst/>
                <a:cxnLst/>
                <a:rect l="l" t="t" r="r" b="b"/>
                <a:pathLst>
                  <a:path w="4157" h="1910" extrusionOk="0">
                    <a:moveTo>
                      <a:pt x="3957" y="0"/>
                    </a:moveTo>
                    <a:cubicBezTo>
                      <a:pt x="3934" y="0"/>
                      <a:pt x="3910" y="5"/>
                      <a:pt x="3888" y="16"/>
                    </a:cubicBezTo>
                    <a:lnTo>
                      <a:pt x="144" y="1560"/>
                    </a:lnTo>
                    <a:cubicBezTo>
                      <a:pt x="42" y="1601"/>
                      <a:pt x="1" y="1703"/>
                      <a:pt x="42" y="1807"/>
                    </a:cubicBezTo>
                    <a:cubicBezTo>
                      <a:pt x="62" y="1868"/>
                      <a:pt x="144" y="1909"/>
                      <a:pt x="206" y="1909"/>
                    </a:cubicBezTo>
                    <a:lnTo>
                      <a:pt x="289" y="1909"/>
                    </a:lnTo>
                    <a:lnTo>
                      <a:pt x="4011" y="346"/>
                    </a:lnTo>
                    <a:cubicBezTo>
                      <a:pt x="4115" y="304"/>
                      <a:pt x="4156" y="202"/>
                      <a:pt x="4115" y="99"/>
                    </a:cubicBezTo>
                    <a:cubicBezTo>
                      <a:pt x="4085" y="39"/>
                      <a:pt x="4021" y="0"/>
                      <a:pt x="395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40"/>
              <p:cNvSpPr/>
              <p:nvPr/>
            </p:nvSpPr>
            <p:spPr>
              <a:xfrm>
                <a:off x="5887696" y="2114419"/>
                <a:ext cx="93646" cy="41194"/>
              </a:xfrm>
              <a:custGeom>
                <a:avLst/>
                <a:gdLst/>
                <a:ahLst/>
                <a:cxnLst/>
                <a:rect l="l" t="t" r="r" b="b"/>
                <a:pathLst>
                  <a:path w="4342" h="1910" extrusionOk="0">
                    <a:moveTo>
                      <a:pt x="4143" y="1"/>
                    </a:moveTo>
                    <a:cubicBezTo>
                      <a:pt x="4119" y="1"/>
                      <a:pt x="4095" y="6"/>
                      <a:pt x="4073" y="17"/>
                    </a:cubicBezTo>
                    <a:lnTo>
                      <a:pt x="145" y="1560"/>
                    </a:lnTo>
                    <a:cubicBezTo>
                      <a:pt x="41" y="1580"/>
                      <a:pt x="0" y="1704"/>
                      <a:pt x="41" y="1786"/>
                    </a:cubicBezTo>
                    <a:cubicBezTo>
                      <a:pt x="63" y="1868"/>
                      <a:pt x="123" y="1909"/>
                      <a:pt x="206" y="1909"/>
                    </a:cubicBezTo>
                    <a:cubicBezTo>
                      <a:pt x="227" y="1909"/>
                      <a:pt x="247" y="1909"/>
                      <a:pt x="268" y="1889"/>
                    </a:cubicBezTo>
                    <a:lnTo>
                      <a:pt x="4197" y="346"/>
                    </a:lnTo>
                    <a:cubicBezTo>
                      <a:pt x="4300" y="305"/>
                      <a:pt x="4342" y="203"/>
                      <a:pt x="4300" y="120"/>
                    </a:cubicBezTo>
                    <a:cubicBezTo>
                      <a:pt x="4285" y="43"/>
                      <a:pt x="4213" y="1"/>
                      <a:pt x="41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40"/>
              <p:cNvSpPr/>
              <p:nvPr/>
            </p:nvSpPr>
            <p:spPr>
              <a:xfrm>
                <a:off x="6347343" y="2848641"/>
                <a:ext cx="278242" cy="1503233"/>
              </a:xfrm>
              <a:custGeom>
                <a:avLst/>
                <a:gdLst/>
                <a:ahLst/>
                <a:cxnLst/>
                <a:rect l="l" t="t" r="r" b="b"/>
                <a:pathLst>
                  <a:path w="12901" h="69699" extrusionOk="0">
                    <a:moveTo>
                      <a:pt x="165" y="0"/>
                    </a:moveTo>
                    <a:cubicBezTo>
                      <a:pt x="63" y="21"/>
                      <a:pt x="1" y="123"/>
                      <a:pt x="22" y="227"/>
                    </a:cubicBezTo>
                    <a:lnTo>
                      <a:pt x="1194" y="6460"/>
                    </a:lnTo>
                    <a:lnTo>
                      <a:pt x="1276" y="6399"/>
                    </a:lnTo>
                    <a:cubicBezTo>
                      <a:pt x="1317" y="6358"/>
                      <a:pt x="1359" y="6358"/>
                      <a:pt x="1400" y="6358"/>
                    </a:cubicBezTo>
                    <a:cubicBezTo>
                      <a:pt x="1441" y="6358"/>
                      <a:pt x="1503" y="6377"/>
                      <a:pt x="1545" y="6419"/>
                    </a:cubicBezTo>
                    <a:cubicBezTo>
                      <a:pt x="1606" y="6501"/>
                      <a:pt x="1586" y="6624"/>
                      <a:pt x="1503" y="6687"/>
                    </a:cubicBezTo>
                    <a:lnTo>
                      <a:pt x="1276" y="6871"/>
                    </a:lnTo>
                    <a:lnTo>
                      <a:pt x="5226" y="27917"/>
                    </a:lnTo>
                    <a:lnTo>
                      <a:pt x="5248" y="27917"/>
                    </a:lnTo>
                    <a:cubicBezTo>
                      <a:pt x="5309" y="27917"/>
                      <a:pt x="5371" y="27937"/>
                      <a:pt x="5391" y="28000"/>
                    </a:cubicBezTo>
                    <a:cubicBezTo>
                      <a:pt x="5453" y="28082"/>
                      <a:pt x="5453" y="28184"/>
                      <a:pt x="5371" y="28247"/>
                    </a:cubicBezTo>
                    <a:lnTo>
                      <a:pt x="5289" y="28307"/>
                    </a:lnTo>
                    <a:lnTo>
                      <a:pt x="8909" y="47481"/>
                    </a:lnTo>
                    <a:lnTo>
                      <a:pt x="8992" y="47420"/>
                    </a:lnTo>
                    <a:cubicBezTo>
                      <a:pt x="9033" y="47398"/>
                      <a:pt x="9074" y="47379"/>
                      <a:pt x="9094" y="47379"/>
                    </a:cubicBezTo>
                    <a:cubicBezTo>
                      <a:pt x="9156" y="47379"/>
                      <a:pt x="9217" y="47398"/>
                      <a:pt x="9258" y="47461"/>
                    </a:cubicBezTo>
                    <a:cubicBezTo>
                      <a:pt x="9265" y="47470"/>
                      <a:pt x="9270" y="47478"/>
                      <a:pt x="9275" y="47487"/>
                    </a:cubicBezTo>
                    <a:lnTo>
                      <a:pt x="9275" y="47487"/>
                    </a:lnTo>
                    <a:lnTo>
                      <a:pt x="393" y="145"/>
                    </a:lnTo>
                    <a:cubicBezTo>
                      <a:pt x="371" y="63"/>
                      <a:pt x="289" y="0"/>
                      <a:pt x="207" y="0"/>
                    </a:cubicBezTo>
                    <a:close/>
                    <a:moveTo>
                      <a:pt x="9275" y="47487"/>
                    </a:moveTo>
                    <a:lnTo>
                      <a:pt x="9293" y="47584"/>
                    </a:lnTo>
                    <a:lnTo>
                      <a:pt x="9293" y="47584"/>
                    </a:lnTo>
                    <a:cubicBezTo>
                      <a:pt x="9297" y="47552"/>
                      <a:pt x="9292" y="47519"/>
                      <a:pt x="9275" y="47487"/>
                    </a:cubicBezTo>
                    <a:close/>
                    <a:moveTo>
                      <a:pt x="9293" y="47584"/>
                    </a:moveTo>
                    <a:lnTo>
                      <a:pt x="9293" y="47584"/>
                    </a:lnTo>
                    <a:cubicBezTo>
                      <a:pt x="9287" y="47630"/>
                      <a:pt x="9261" y="47675"/>
                      <a:pt x="9217" y="47708"/>
                    </a:cubicBezTo>
                    <a:lnTo>
                      <a:pt x="8970" y="47892"/>
                    </a:lnTo>
                    <a:lnTo>
                      <a:pt x="12509" y="66695"/>
                    </a:lnTo>
                    <a:lnTo>
                      <a:pt x="10904" y="69411"/>
                    </a:lnTo>
                    <a:cubicBezTo>
                      <a:pt x="10863" y="69493"/>
                      <a:pt x="10884" y="69616"/>
                      <a:pt x="10986" y="69658"/>
                    </a:cubicBezTo>
                    <a:cubicBezTo>
                      <a:pt x="11008" y="69679"/>
                      <a:pt x="11049" y="69699"/>
                      <a:pt x="11069" y="69699"/>
                    </a:cubicBezTo>
                    <a:cubicBezTo>
                      <a:pt x="11131" y="69699"/>
                      <a:pt x="11192" y="69658"/>
                      <a:pt x="11233" y="69597"/>
                    </a:cubicBezTo>
                    <a:lnTo>
                      <a:pt x="12859" y="66840"/>
                    </a:lnTo>
                    <a:cubicBezTo>
                      <a:pt x="12879" y="66799"/>
                      <a:pt x="12900" y="66758"/>
                      <a:pt x="12879" y="66695"/>
                    </a:cubicBezTo>
                    <a:lnTo>
                      <a:pt x="9293" y="47584"/>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40"/>
              <p:cNvSpPr/>
              <p:nvPr/>
            </p:nvSpPr>
            <p:spPr>
              <a:xfrm>
                <a:off x="6472046" y="3870466"/>
                <a:ext cx="76327" cy="59483"/>
              </a:xfrm>
              <a:custGeom>
                <a:avLst/>
                <a:gdLst/>
                <a:ahLst/>
                <a:cxnLst/>
                <a:rect l="l" t="t" r="r" b="b"/>
                <a:pathLst>
                  <a:path w="3539" h="2758" extrusionOk="0">
                    <a:moveTo>
                      <a:pt x="3312" y="1"/>
                    </a:moveTo>
                    <a:cubicBezTo>
                      <a:pt x="3292" y="1"/>
                      <a:pt x="3251" y="20"/>
                      <a:pt x="3210" y="42"/>
                    </a:cubicBezTo>
                    <a:lnTo>
                      <a:pt x="3127" y="103"/>
                    </a:lnTo>
                    <a:lnTo>
                      <a:pt x="83" y="2428"/>
                    </a:lnTo>
                    <a:cubicBezTo>
                      <a:pt x="0" y="2489"/>
                      <a:pt x="0" y="2593"/>
                      <a:pt x="61" y="2675"/>
                    </a:cubicBezTo>
                    <a:cubicBezTo>
                      <a:pt x="103" y="2736"/>
                      <a:pt x="144" y="2757"/>
                      <a:pt x="206" y="2757"/>
                    </a:cubicBezTo>
                    <a:cubicBezTo>
                      <a:pt x="247" y="2757"/>
                      <a:pt x="289" y="2736"/>
                      <a:pt x="308" y="2716"/>
                    </a:cubicBezTo>
                    <a:lnTo>
                      <a:pt x="3188" y="514"/>
                    </a:lnTo>
                    <a:lnTo>
                      <a:pt x="3435" y="330"/>
                    </a:lnTo>
                    <a:cubicBezTo>
                      <a:pt x="3518" y="267"/>
                      <a:pt x="3539" y="165"/>
                      <a:pt x="3476" y="83"/>
                    </a:cubicBezTo>
                    <a:cubicBezTo>
                      <a:pt x="3435" y="20"/>
                      <a:pt x="3374" y="1"/>
                      <a:pt x="3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40"/>
              <p:cNvSpPr/>
              <p:nvPr/>
            </p:nvSpPr>
            <p:spPr>
              <a:xfrm>
                <a:off x="6386401" y="3450741"/>
                <a:ext cx="78570" cy="60367"/>
              </a:xfrm>
              <a:custGeom>
                <a:avLst/>
                <a:gdLst/>
                <a:ahLst/>
                <a:cxnLst/>
                <a:rect l="l" t="t" r="r" b="b"/>
                <a:pathLst>
                  <a:path w="3643" h="2799" extrusionOk="0">
                    <a:moveTo>
                      <a:pt x="3415" y="0"/>
                    </a:moveTo>
                    <a:cubicBezTo>
                      <a:pt x="3395" y="20"/>
                      <a:pt x="3354" y="20"/>
                      <a:pt x="3333" y="42"/>
                    </a:cubicBezTo>
                    <a:lnTo>
                      <a:pt x="83" y="2469"/>
                    </a:lnTo>
                    <a:cubicBezTo>
                      <a:pt x="0" y="2530"/>
                      <a:pt x="0" y="2653"/>
                      <a:pt x="63" y="2736"/>
                    </a:cubicBezTo>
                    <a:cubicBezTo>
                      <a:pt x="83" y="2777"/>
                      <a:pt x="145" y="2798"/>
                      <a:pt x="206" y="2798"/>
                    </a:cubicBezTo>
                    <a:cubicBezTo>
                      <a:pt x="247" y="2798"/>
                      <a:pt x="288" y="2798"/>
                      <a:pt x="310" y="2777"/>
                    </a:cubicBezTo>
                    <a:lnTo>
                      <a:pt x="3478" y="390"/>
                    </a:lnTo>
                    <a:lnTo>
                      <a:pt x="3560" y="330"/>
                    </a:lnTo>
                    <a:cubicBezTo>
                      <a:pt x="3642" y="267"/>
                      <a:pt x="3642" y="165"/>
                      <a:pt x="3580" y="83"/>
                    </a:cubicBezTo>
                    <a:cubicBezTo>
                      <a:pt x="3560" y="20"/>
                      <a:pt x="3498" y="0"/>
                      <a:pt x="343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40"/>
              <p:cNvSpPr/>
              <p:nvPr/>
            </p:nvSpPr>
            <p:spPr>
              <a:xfrm>
                <a:off x="6301210" y="2985746"/>
                <a:ext cx="80770" cy="63926"/>
              </a:xfrm>
              <a:custGeom>
                <a:avLst/>
                <a:gdLst/>
                <a:ahLst/>
                <a:cxnLst/>
                <a:rect l="l" t="t" r="r" b="b"/>
                <a:pathLst>
                  <a:path w="3745" h="2964" extrusionOk="0">
                    <a:moveTo>
                      <a:pt x="3539" y="1"/>
                    </a:moveTo>
                    <a:cubicBezTo>
                      <a:pt x="3498" y="1"/>
                      <a:pt x="3456" y="1"/>
                      <a:pt x="3415" y="42"/>
                    </a:cubicBezTo>
                    <a:lnTo>
                      <a:pt x="3333" y="103"/>
                    </a:lnTo>
                    <a:lnTo>
                      <a:pt x="104" y="2634"/>
                    </a:lnTo>
                    <a:cubicBezTo>
                      <a:pt x="22" y="2695"/>
                      <a:pt x="0" y="2818"/>
                      <a:pt x="63" y="2901"/>
                    </a:cubicBezTo>
                    <a:cubicBezTo>
                      <a:pt x="104" y="2942"/>
                      <a:pt x="165" y="2963"/>
                      <a:pt x="206" y="2963"/>
                    </a:cubicBezTo>
                    <a:cubicBezTo>
                      <a:pt x="247" y="2963"/>
                      <a:pt x="288" y="2942"/>
                      <a:pt x="330" y="2922"/>
                    </a:cubicBezTo>
                    <a:lnTo>
                      <a:pt x="3415" y="514"/>
                    </a:lnTo>
                    <a:lnTo>
                      <a:pt x="3642" y="330"/>
                    </a:lnTo>
                    <a:cubicBezTo>
                      <a:pt x="3725" y="267"/>
                      <a:pt x="3745" y="144"/>
                      <a:pt x="3684" y="62"/>
                    </a:cubicBezTo>
                    <a:cubicBezTo>
                      <a:pt x="3642" y="20"/>
                      <a:pt x="3580" y="1"/>
                      <a:pt x="353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40"/>
              <p:cNvSpPr/>
              <p:nvPr/>
            </p:nvSpPr>
            <p:spPr>
              <a:xfrm>
                <a:off x="4197688" y="3077149"/>
                <a:ext cx="357632" cy="145969"/>
              </a:xfrm>
              <a:custGeom>
                <a:avLst/>
                <a:gdLst/>
                <a:ahLst/>
                <a:cxnLst/>
                <a:rect l="l" t="t" r="r" b="b"/>
                <a:pathLst>
                  <a:path w="16582" h="6768" extrusionOk="0">
                    <a:moveTo>
                      <a:pt x="185" y="1"/>
                    </a:moveTo>
                    <a:cubicBezTo>
                      <a:pt x="82" y="1"/>
                      <a:pt x="0" y="83"/>
                      <a:pt x="0" y="185"/>
                    </a:cubicBezTo>
                    <a:cubicBezTo>
                      <a:pt x="0" y="289"/>
                      <a:pt x="82" y="371"/>
                      <a:pt x="185" y="371"/>
                    </a:cubicBezTo>
                    <a:lnTo>
                      <a:pt x="4115" y="371"/>
                    </a:lnTo>
                    <a:lnTo>
                      <a:pt x="16293" y="6748"/>
                    </a:lnTo>
                    <a:cubicBezTo>
                      <a:pt x="16313" y="6768"/>
                      <a:pt x="16335" y="6768"/>
                      <a:pt x="16376" y="6768"/>
                    </a:cubicBezTo>
                    <a:cubicBezTo>
                      <a:pt x="16437" y="6768"/>
                      <a:pt x="16499" y="6727"/>
                      <a:pt x="16540" y="6666"/>
                    </a:cubicBezTo>
                    <a:cubicBezTo>
                      <a:pt x="16581" y="6584"/>
                      <a:pt x="16540" y="6460"/>
                      <a:pt x="16458" y="6419"/>
                    </a:cubicBezTo>
                    <a:lnTo>
                      <a:pt x="4238" y="20"/>
                    </a:lnTo>
                    <a:cubicBezTo>
                      <a:pt x="4217" y="1"/>
                      <a:pt x="4197" y="1"/>
                      <a:pt x="415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40"/>
              <p:cNvSpPr/>
              <p:nvPr/>
            </p:nvSpPr>
            <p:spPr>
              <a:xfrm>
                <a:off x="4625825" y="3528363"/>
                <a:ext cx="57693" cy="350105"/>
              </a:xfrm>
              <a:custGeom>
                <a:avLst/>
                <a:gdLst/>
                <a:ahLst/>
                <a:cxnLst/>
                <a:rect l="l" t="t" r="r" b="b"/>
                <a:pathLst>
                  <a:path w="2675" h="16233" extrusionOk="0">
                    <a:moveTo>
                      <a:pt x="2491" y="1"/>
                    </a:moveTo>
                    <a:cubicBezTo>
                      <a:pt x="2387" y="1"/>
                      <a:pt x="2305" y="83"/>
                      <a:pt x="2305" y="187"/>
                    </a:cubicBezTo>
                    <a:lnTo>
                      <a:pt x="2305" y="11974"/>
                    </a:lnTo>
                    <a:lnTo>
                      <a:pt x="63" y="15965"/>
                    </a:lnTo>
                    <a:cubicBezTo>
                      <a:pt x="1" y="16047"/>
                      <a:pt x="42" y="16170"/>
                      <a:pt x="124" y="16212"/>
                    </a:cubicBezTo>
                    <a:cubicBezTo>
                      <a:pt x="145" y="16233"/>
                      <a:pt x="187" y="16233"/>
                      <a:pt x="206" y="16233"/>
                    </a:cubicBezTo>
                    <a:cubicBezTo>
                      <a:pt x="269" y="16233"/>
                      <a:pt x="351" y="16192"/>
                      <a:pt x="371" y="16151"/>
                    </a:cubicBezTo>
                    <a:lnTo>
                      <a:pt x="2655" y="12097"/>
                    </a:lnTo>
                    <a:cubicBezTo>
                      <a:pt x="2675" y="12077"/>
                      <a:pt x="2675" y="12056"/>
                      <a:pt x="2675" y="12015"/>
                    </a:cubicBezTo>
                    <a:lnTo>
                      <a:pt x="2675" y="187"/>
                    </a:lnTo>
                    <a:cubicBezTo>
                      <a:pt x="2675" y="83"/>
                      <a:pt x="2593" y="1"/>
                      <a:pt x="249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40"/>
              <p:cNvSpPr/>
              <p:nvPr/>
            </p:nvSpPr>
            <p:spPr>
              <a:xfrm>
                <a:off x="6430766" y="1678087"/>
                <a:ext cx="91425" cy="102618"/>
              </a:xfrm>
              <a:custGeom>
                <a:avLst/>
                <a:gdLst/>
                <a:ahLst/>
                <a:cxnLst/>
                <a:rect l="l" t="t" r="r" b="b"/>
                <a:pathLst>
                  <a:path w="4239" h="4758" extrusionOk="0">
                    <a:moveTo>
                      <a:pt x="203" y="1"/>
                    </a:moveTo>
                    <a:cubicBezTo>
                      <a:pt x="191" y="1"/>
                      <a:pt x="178" y="2"/>
                      <a:pt x="165" y="5"/>
                    </a:cubicBezTo>
                    <a:cubicBezTo>
                      <a:pt x="63" y="26"/>
                      <a:pt x="0" y="108"/>
                      <a:pt x="0" y="210"/>
                    </a:cubicBezTo>
                    <a:cubicBezTo>
                      <a:pt x="762" y="4511"/>
                      <a:pt x="3374" y="4758"/>
                      <a:pt x="3950" y="4758"/>
                    </a:cubicBezTo>
                    <a:lnTo>
                      <a:pt x="4054" y="4758"/>
                    </a:lnTo>
                    <a:cubicBezTo>
                      <a:pt x="4156" y="4736"/>
                      <a:pt x="4238" y="4654"/>
                      <a:pt x="4219" y="4552"/>
                    </a:cubicBezTo>
                    <a:cubicBezTo>
                      <a:pt x="4219" y="4459"/>
                      <a:pt x="4153" y="4384"/>
                      <a:pt x="4065" y="4384"/>
                    </a:cubicBezTo>
                    <a:cubicBezTo>
                      <a:pt x="4055" y="4384"/>
                      <a:pt x="4044" y="4385"/>
                      <a:pt x="4033" y="4387"/>
                    </a:cubicBezTo>
                    <a:cubicBezTo>
                      <a:pt x="4021" y="4387"/>
                      <a:pt x="3988" y="4389"/>
                      <a:pt x="3936" y="4389"/>
                    </a:cubicBezTo>
                    <a:cubicBezTo>
                      <a:pt x="3420" y="4389"/>
                      <a:pt x="1081" y="4203"/>
                      <a:pt x="371" y="149"/>
                    </a:cubicBezTo>
                    <a:cubicBezTo>
                      <a:pt x="353" y="59"/>
                      <a:pt x="288" y="1"/>
                      <a:pt x="2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40"/>
              <p:cNvSpPr/>
              <p:nvPr/>
            </p:nvSpPr>
            <p:spPr>
              <a:xfrm>
                <a:off x="6077167" y="1579243"/>
                <a:ext cx="77643" cy="66579"/>
              </a:xfrm>
              <a:custGeom>
                <a:avLst/>
                <a:gdLst/>
                <a:ahLst/>
                <a:cxnLst/>
                <a:rect l="l" t="t" r="r" b="b"/>
                <a:pathLst>
                  <a:path w="3600" h="3087" extrusionOk="0">
                    <a:moveTo>
                      <a:pt x="210" y="1"/>
                    </a:moveTo>
                    <a:cubicBezTo>
                      <a:pt x="179" y="1"/>
                      <a:pt x="150" y="8"/>
                      <a:pt x="124" y="21"/>
                    </a:cubicBezTo>
                    <a:cubicBezTo>
                      <a:pt x="41" y="62"/>
                      <a:pt x="0" y="185"/>
                      <a:pt x="61" y="267"/>
                    </a:cubicBezTo>
                    <a:cubicBezTo>
                      <a:pt x="1378" y="2716"/>
                      <a:pt x="3292" y="3065"/>
                      <a:pt x="3374" y="3087"/>
                    </a:cubicBezTo>
                    <a:lnTo>
                      <a:pt x="3415" y="3087"/>
                    </a:lnTo>
                    <a:cubicBezTo>
                      <a:pt x="3497" y="3087"/>
                      <a:pt x="3580" y="3024"/>
                      <a:pt x="3600" y="2922"/>
                    </a:cubicBezTo>
                    <a:cubicBezTo>
                      <a:pt x="3600" y="2818"/>
                      <a:pt x="3539" y="2736"/>
                      <a:pt x="3435" y="2716"/>
                    </a:cubicBezTo>
                    <a:cubicBezTo>
                      <a:pt x="3415" y="2716"/>
                      <a:pt x="1605" y="2366"/>
                      <a:pt x="371" y="103"/>
                    </a:cubicBezTo>
                    <a:cubicBezTo>
                      <a:pt x="342" y="33"/>
                      <a:pt x="275" y="1"/>
                      <a:pt x="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40"/>
              <p:cNvSpPr/>
              <p:nvPr/>
            </p:nvSpPr>
            <p:spPr>
              <a:xfrm>
                <a:off x="5802504" y="1408580"/>
                <a:ext cx="76780" cy="69534"/>
              </a:xfrm>
              <a:custGeom>
                <a:avLst/>
                <a:gdLst/>
                <a:ahLst/>
                <a:cxnLst/>
                <a:rect l="l" t="t" r="r" b="b"/>
                <a:pathLst>
                  <a:path w="3560" h="3224" extrusionOk="0">
                    <a:moveTo>
                      <a:pt x="335" y="1"/>
                    </a:moveTo>
                    <a:cubicBezTo>
                      <a:pt x="267" y="1"/>
                      <a:pt x="197" y="52"/>
                      <a:pt x="165" y="116"/>
                    </a:cubicBezTo>
                    <a:cubicBezTo>
                      <a:pt x="0" y="590"/>
                      <a:pt x="22" y="1043"/>
                      <a:pt x="268" y="1454"/>
                    </a:cubicBezTo>
                    <a:cubicBezTo>
                      <a:pt x="968" y="2708"/>
                      <a:pt x="3231" y="3202"/>
                      <a:pt x="3333" y="3223"/>
                    </a:cubicBezTo>
                    <a:lnTo>
                      <a:pt x="3374" y="3223"/>
                    </a:lnTo>
                    <a:cubicBezTo>
                      <a:pt x="3456" y="3223"/>
                      <a:pt x="3519" y="3182"/>
                      <a:pt x="3539" y="3078"/>
                    </a:cubicBezTo>
                    <a:cubicBezTo>
                      <a:pt x="3560" y="2996"/>
                      <a:pt x="3497" y="2894"/>
                      <a:pt x="3395" y="2873"/>
                    </a:cubicBezTo>
                    <a:cubicBezTo>
                      <a:pt x="3374" y="2853"/>
                      <a:pt x="1193" y="2379"/>
                      <a:pt x="576" y="1289"/>
                    </a:cubicBezTo>
                    <a:cubicBezTo>
                      <a:pt x="412" y="960"/>
                      <a:pt x="392" y="610"/>
                      <a:pt x="515" y="239"/>
                    </a:cubicBezTo>
                    <a:cubicBezTo>
                      <a:pt x="556" y="157"/>
                      <a:pt x="494" y="34"/>
                      <a:pt x="392" y="14"/>
                    </a:cubicBezTo>
                    <a:cubicBezTo>
                      <a:pt x="374" y="5"/>
                      <a:pt x="354" y="1"/>
                      <a:pt x="3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40"/>
              <p:cNvSpPr/>
              <p:nvPr/>
            </p:nvSpPr>
            <p:spPr>
              <a:xfrm>
                <a:off x="7008020" y="2703104"/>
                <a:ext cx="72790" cy="86982"/>
              </a:xfrm>
              <a:custGeom>
                <a:avLst/>
                <a:gdLst/>
                <a:ahLst/>
                <a:cxnLst/>
                <a:rect l="l" t="t" r="r" b="b"/>
                <a:pathLst>
                  <a:path w="3375" h="4033" extrusionOk="0">
                    <a:moveTo>
                      <a:pt x="185" y="0"/>
                    </a:moveTo>
                    <a:cubicBezTo>
                      <a:pt x="83" y="0"/>
                      <a:pt x="1" y="83"/>
                      <a:pt x="1" y="186"/>
                    </a:cubicBezTo>
                    <a:cubicBezTo>
                      <a:pt x="1" y="227"/>
                      <a:pt x="62" y="3456"/>
                      <a:pt x="3128" y="4033"/>
                    </a:cubicBezTo>
                    <a:lnTo>
                      <a:pt x="3169" y="4033"/>
                    </a:lnTo>
                    <a:cubicBezTo>
                      <a:pt x="3251" y="4033"/>
                      <a:pt x="3333" y="3972"/>
                      <a:pt x="3353" y="3889"/>
                    </a:cubicBezTo>
                    <a:cubicBezTo>
                      <a:pt x="3375" y="3786"/>
                      <a:pt x="3312" y="3684"/>
                      <a:pt x="3210" y="3662"/>
                    </a:cubicBezTo>
                    <a:cubicBezTo>
                      <a:pt x="432" y="3149"/>
                      <a:pt x="371" y="310"/>
                      <a:pt x="371" y="186"/>
                    </a:cubicBezTo>
                    <a:cubicBezTo>
                      <a:pt x="371" y="83"/>
                      <a:pt x="289" y="0"/>
                      <a:pt x="1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40"/>
              <p:cNvSpPr/>
              <p:nvPr/>
            </p:nvSpPr>
            <p:spPr>
              <a:xfrm>
                <a:off x="6981406" y="3041649"/>
                <a:ext cx="26636" cy="82970"/>
              </a:xfrm>
              <a:custGeom>
                <a:avLst/>
                <a:gdLst/>
                <a:ahLst/>
                <a:cxnLst/>
                <a:rect l="l" t="t" r="r" b="b"/>
                <a:pathLst>
                  <a:path w="1235" h="3847" extrusionOk="0">
                    <a:moveTo>
                      <a:pt x="226" y="1"/>
                    </a:moveTo>
                    <a:cubicBezTo>
                      <a:pt x="165" y="1"/>
                      <a:pt x="102" y="42"/>
                      <a:pt x="61" y="103"/>
                    </a:cubicBezTo>
                    <a:cubicBezTo>
                      <a:pt x="61" y="124"/>
                      <a:pt x="42" y="165"/>
                      <a:pt x="0" y="267"/>
                    </a:cubicBezTo>
                    <a:cubicBezTo>
                      <a:pt x="144" y="226"/>
                      <a:pt x="267" y="165"/>
                      <a:pt x="412" y="124"/>
                    </a:cubicBezTo>
                    <a:cubicBezTo>
                      <a:pt x="390" y="83"/>
                      <a:pt x="349" y="42"/>
                      <a:pt x="308" y="21"/>
                    </a:cubicBezTo>
                    <a:cubicBezTo>
                      <a:pt x="288" y="1"/>
                      <a:pt x="267" y="1"/>
                      <a:pt x="226" y="1"/>
                    </a:cubicBezTo>
                    <a:close/>
                    <a:moveTo>
                      <a:pt x="1194" y="3559"/>
                    </a:moveTo>
                    <a:cubicBezTo>
                      <a:pt x="1090" y="3641"/>
                      <a:pt x="988" y="3724"/>
                      <a:pt x="864" y="3786"/>
                    </a:cubicBezTo>
                    <a:cubicBezTo>
                      <a:pt x="906" y="3806"/>
                      <a:pt x="947" y="3827"/>
                      <a:pt x="966" y="3847"/>
                    </a:cubicBezTo>
                    <a:lnTo>
                      <a:pt x="1049" y="3847"/>
                    </a:lnTo>
                    <a:cubicBezTo>
                      <a:pt x="1111" y="3847"/>
                      <a:pt x="1194" y="3806"/>
                      <a:pt x="1213" y="3745"/>
                    </a:cubicBezTo>
                    <a:cubicBezTo>
                      <a:pt x="1235" y="3682"/>
                      <a:pt x="1235" y="3621"/>
                      <a:pt x="1194" y="3559"/>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40"/>
              <p:cNvSpPr/>
              <p:nvPr/>
            </p:nvSpPr>
            <p:spPr>
              <a:xfrm>
                <a:off x="6981406" y="3044323"/>
                <a:ext cx="25752" cy="74084"/>
              </a:xfrm>
              <a:custGeom>
                <a:avLst/>
                <a:gdLst/>
                <a:ahLst/>
                <a:cxnLst/>
                <a:rect l="l" t="t" r="r" b="b"/>
                <a:pathLst>
                  <a:path w="1194" h="3435" extrusionOk="0">
                    <a:moveTo>
                      <a:pt x="1194" y="3435"/>
                    </a:moveTo>
                    <a:lnTo>
                      <a:pt x="1194" y="3435"/>
                    </a:lnTo>
                    <a:lnTo>
                      <a:pt x="1194" y="3435"/>
                    </a:lnTo>
                    <a:lnTo>
                      <a:pt x="1194" y="3435"/>
                    </a:lnTo>
                    <a:close/>
                    <a:moveTo>
                      <a:pt x="412" y="0"/>
                    </a:moveTo>
                    <a:cubicBezTo>
                      <a:pt x="267" y="41"/>
                      <a:pt x="144" y="102"/>
                      <a:pt x="0" y="143"/>
                    </a:cubicBezTo>
                    <a:lnTo>
                      <a:pt x="0" y="143"/>
                    </a:lnTo>
                    <a:cubicBezTo>
                      <a:pt x="144" y="102"/>
                      <a:pt x="267" y="41"/>
                      <a:pt x="412" y="0"/>
                    </a:cubicBezTo>
                    <a:close/>
                  </a:path>
                </a:pathLst>
              </a:custGeom>
              <a:solidFill>
                <a:srgbClr val="CEBF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40"/>
              <p:cNvSpPr/>
              <p:nvPr/>
            </p:nvSpPr>
            <p:spPr>
              <a:xfrm>
                <a:off x="6969867" y="3044323"/>
                <a:ext cx="37290" cy="79002"/>
              </a:xfrm>
              <a:custGeom>
                <a:avLst/>
                <a:gdLst/>
                <a:ahLst/>
                <a:cxnLst/>
                <a:rect l="l" t="t" r="r" b="b"/>
                <a:pathLst>
                  <a:path w="1729" h="3663" extrusionOk="0">
                    <a:moveTo>
                      <a:pt x="947" y="0"/>
                    </a:moveTo>
                    <a:cubicBezTo>
                      <a:pt x="802" y="41"/>
                      <a:pt x="679" y="102"/>
                      <a:pt x="535" y="143"/>
                    </a:cubicBezTo>
                    <a:cubicBezTo>
                      <a:pt x="371" y="555"/>
                      <a:pt x="1" y="1605"/>
                      <a:pt x="349" y="2530"/>
                    </a:cubicBezTo>
                    <a:cubicBezTo>
                      <a:pt x="535" y="3024"/>
                      <a:pt x="884" y="3415"/>
                      <a:pt x="1399" y="3662"/>
                    </a:cubicBezTo>
                    <a:cubicBezTo>
                      <a:pt x="1523" y="3600"/>
                      <a:pt x="1625" y="3517"/>
                      <a:pt x="1729" y="3435"/>
                    </a:cubicBezTo>
                    <a:cubicBezTo>
                      <a:pt x="1707" y="3415"/>
                      <a:pt x="1687" y="3394"/>
                      <a:pt x="1646" y="3374"/>
                    </a:cubicBezTo>
                    <a:cubicBezTo>
                      <a:pt x="1172" y="3168"/>
                      <a:pt x="843" y="2839"/>
                      <a:pt x="700" y="2406"/>
                    </a:cubicBezTo>
                    <a:cubicBezTo>
                      <a:pt x="330" y="1399"/>
                      <a:pt x="925" y="165"/>
                      <a:pt x="925" y="143"/>
                    </a:cubicBezTo>
                    <a:cubicBezTo>
                      <a:pt x="947" y="102"/>
                      <a:pt x="967" y="41"/>
                      <a:pt x="9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40"/>
              <p:cNvSpPr/>
              <p:nvPr/>
            </p:nvSpPr>
            <p:spPr>
              <a:xfrm>
                <a:off x="6946790" y="3381941"/>
                <a:ext cx="8023" cy="5349"/>
              </a:xfrm>
              <a:custGeom>
                <a:avLst/>
                <a:gdLst/>
                <a:ahLst/>
                <a:cxnLst/>
                <a:rect l="l" t="t" r="r" b="b"/>
                <a:pathLst>
                  <a:path w="372" h="248" extrusionOk="0">
                    <a:moveTo>
                      <a:pt x="185" y="1"/>
                    </a:moveTo>
                    <a:cubicBezTo>
                      <a:pt x="103" y="1"/>
                      <a:pt x="21" y="63"/>
                      <a:pt x="1" y="165"/>
                    </a:cubicBezTo>
                    <a:lnTo>
                      <a:pt x="1" y="248"/>
                    </a:lnTo>
                    <a:lnTo>
                      <a:pt x="371" y="124"/>
                    </a:lnTo>
                    <a:cubicBezTo>
                      <a:pt x="350" y="63"/>
                      <a:pt x="289" y="22"/>
                      <a:pt x="226" y="1"/>
                    </a:cubicBezTo>
                    <a:close/>
                  </a:path>
                </a:pathLst>
              </a:custGeom>
              <a:solidFill>
                <a:srgbClr val="D6D4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40"/>
              <p:cNvSpPr/>
              <p:nvPr/>
            </p:nvSpPr>
            <p:spPr>
              <a:xfrm>
                <a:off x="6945021" y="3384615"/>
                <a:ext cx="37722" cy="51050"/>
              </a:xfrm>
              <a:custGeom>
                <a:avLst/>
                <a:gdLst/>
                <a:ahLst/>
                <a:cxnLst/>
                <a:rect l="l" t="t" r="r" b="b"/>
                <a:pathLst>
                  <a:path w="1749" h="2367" extrusionOk="0">
                    <a:moveTo>
                      <a:pt x="453" y="0"/>
                    </a:moveTo>
                    <a:lnTo>
                      <a:pt x="83" y="124"/>
                    </a:lnTo>
                    <a:cubicBezTo>
                      <a:pt x="0" y="803"/>
                      <a:pt x="185" y="2058"/>
                      <a:pt x="1501" y="2367"/>
                    </a:cubicBezTo>
                    <a:lnTo>
                      <a:pt x="1543" y="2367"/>
                    </a:lnTo>
                    <a:cubicBezTo>
                      <a:pt x="1625" y="2367"/>
                      <a:pt x="1707" y="2304"/>
                      <a:pt x="1729" y="2222"/>
                    </a:cubicBezTo>
                    <a:cubicBezTo>
                      <a:pt x="1748" y="2120"/>
                      <a:pt x="1687" y="2016"/>
                      <a:pt x="1584" y="1997"/>
                    </a:cubicBezTo>
                    <a:cubicBezTo>
                      <a:pt x="206" y="1667"/>
                      <a:pt x="453" y="165"/>
                      <a:pt x="453" y="83"/>
                    </a:cubicBezTo>
                    <a:lnTo>
                      <a:pt x="45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40"/>
              <p:cNvSpPr/>
              <p:nvPr/>
            </p:nvSpPr>
            <p:spPr>
              <a:xfrm>
                <a:off x="7266248" y="1803588"/>
                <a:ext cx="54156" cy="49670"/>
              </a:xfrm>
              <a:custGeom>
                <a:avLst/>
                <a:gdLst/>
                <a:ahLst/>
                <a:cxnLst/>
                <a:rect l="l" t="t" r="r" b="b"/>
                <a:pathLst>
                  <a:path w="2511" h="2303" extrusionOk="0">
                    <a:moveTo>
                      <a:pt x="1151" y="0"/>
                    </a:moveTo>
                    <a:cubicBezTo>
                      <a:pt x="948" y="0"/>
                      <a:pt x="742" y="55"/>
                      <a:pt x="555" y="173"/>
                    </a:cubicBezTo>
                    <a:cubicBezTo>
                      <a:pt x="1" y="502"/>
                      <a:pt x="248" y="955"/>
                      <a:pt x="577" y="1509"/>
                    </a:cubicBezTo>
                    <a:cubicBezTo>
                      <a:pt x="827" y="1947"/>
                      <a:pt x="1054" y="2303"/>
                      <a:pt x="1392" y="2303"/>
                    </a:cubicBezTo>
                    <a:cubicBezTo>
                      <a:pt x="1499" y="2303"/>
                      <a:pt x="1616" y="2268"/>
                      <a:pt x="1749" y="2189"/>
                    </a:cubicBezTo>
                    <a:cubicBezTo>
                      <a:pt x="2305" y="1860"/>
                      <a:pt x="2511" y="1139"/>
                      <a:pt x="2181" y="584"/>
                    </a:cubicBezTo>
                    <a:cubicBezTo>
                      <a:pt x="1949" y="215"/>
                      <a:pt x="1553" y="0"/>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40"/>
              <p:cNvSpPr/>
              <p:nvPr/>
            </p:nvSpPr>
            <p:spPr>
              <a:xfrm>
                <a:off x="7263120" y="1800871"/>
                <a:ext cx="51956" cy="47729"/>
              </a:xfrm>
              <a:custGeom>
                <a:avLst/>
                <a:gdLst/>
                <a:ahLst/>
                <a:cxnLst/>
                <a:rect l="l" t="t" r="r" b="b"/>
                <a:pathLst>
                  <a:path w="2409" h="2213" extrusionOk="0">
                    <a:moveTo>
                      <a:pt x="1109" y="1"/>
                    </a:moveTo>
                    <a:cubicBezTo>
                      <a:pt x="913" y="1"/>
                      <a:pt x="715" y="51"/>
                      <a:pt x="536" y="154"/>
                    </a:cubicBezTo>
                    <a:cubicBezTo>
                      <a:pt x="1" y="463"/>
                      <a:pt x="248" y="916"/>
                      <a:pt x="557" y="1451"/>
                    </a:cubicBezTo>
                    <a:cubicBezTo>
                      <a:pt x="810" y="1862"/>
                      <a:pt x="1026" y="2212"/>
                      <a:pt x="1356" y="2212"/>
                    </a:cubicBezTo>
                    <a:cubicBezTo>
                      <a:pt x="1455" y="2212"/>
                      <a:pt x="1564" y="2180"/>
                      <a:pt x="1688" y="2109"/>
                    </a:cubicBezTo>
                    <a:cubicBezTo>
                      <a:pt x="2223" y="1780"/>
                      <a:pt x="2409" y="1100"/>
                      <a:pt x="2080" y="565"/>
                    </a:cubicBezTo>
                    <a:cubicBezTo>
                      <a:pt x="1874" y="197"/>
                      <a:pt x="1496" y="1"/>
                      <a:pt x="11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40"/>
              <p:cNvSpPr/>
              <p:nvPr/>
            </p:nvSpPr>
            <p:spPr>
              <a:xfrm>
                <a:off x="7263120" y="1800828"/>
                <a:ext cx="44407" cy="47341"/>
              </a:xfrm>
              <a:custGeom>
                <a:avLst/>
                <a:gdLst/>
                <a:ahLst/>
                <a:cxnLst/>
                <a:rect l="l" t="t" r="r" b="b"/>
                <a:pathLst>
                  <a:path w="2059" h="2195" extrusionOk="0">
                    <a:moveTo>
                      <a:pt x="1113" y="0"/>
                    </a:moveTo>
                    <a:cubicBezTo>
                      <a:pt x="918" y="0"/>
                      <a:pt x="720" y="50"/>
                      <a:pt x="536" y="156"/>
                    </a:cubicBezTo>
                    <a:cubicBezTo>
                      <a:pt x="1" y="465"/>
                      <a:pt x="248" y="918"/>
                      <a:pt x="557" y="1453"/>
                    </a:cubicBezTo>
                    <a:cubicBezTo>
                      <a:pt x="797" y="1853"/>
                      <a:pt x="1017" y="2194"/>
                      <a:pt x="1332" y="2194"/>
                    </a:cubicBezTo>
                    <a:cubicBezTo>
                      <a:pt x="1341" y="2194"/>
                      <a:pt x="1350" y="2194"/>
                      <a:pt x="1359" y="2194"/>
                    </a:cubicBezTo>
                    <a:cubicBezTo>
                      <a:pt x="681" y="1659"/>
                      <a:pt x="516" y="1349"/>
                      <a:pt x="2058" y="507"/>
                    </a:cubicBezTo>
                    <a:cubicBezTo>
                      <a:pt x="1842" y="183"/>
                      <a:pt x="1484" y="0"/>
                      <a:pt x="11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40"/>
              <p:cNvSpPr/>
              <p:nvPr/>
            </p:nvSpPr>
            <p:spPr>
              <a:xfrm>
                <a:off x="7150905" y="1856148"/>
                <a:ext cx="54134" cy="49842"/>
              </a:xfrm>
              <a:custGeom>
                <a:avLst/>
                <a:gdLst/>
                <a:ahLst/>
                <a:cxnLst/>
                <a:rect l="l" t="t" r="r" b="b"/>
                <a:pathLst>
                  <a:path w="2510" h="2311" extrusionOk="0">
                    <a:moveTo>
                      <a:pt x="1170" y="0"/>
                    </a:moveTo>
                    <a:cubicBezTo>
                      <a:pt x="968" y="0"/>
                      <a:pt x="762" y="53"/>
                      <a:pt x="576" y="163"/>
                    </a:cubicBezTo>
                    <a:cubicBezTo>
                      <a:pt x="0" y="493"/>
                      <a:pt x="267" y="965"/>
                      <a:pt x="596" y="1521"/>
                    </a:cubicBezTo>
                    <a:cubicBezTo>
                      <a:pt x="848" y="1946"/>
                      <a:pt x="1064" y="2311"/>
                      <a:pt x="1410" y="2311"/>
                    </a:cubicBezTo>
                    <a:cubicBezTo>
                      <a:pt x="1516" y="2311"/>
                      <a:pt x="1634" y="2276"/>
                      <a:pt x="1769" y="2199"/>
                    </a:cubicBezTo>
                    <a:cubicBezTo>
                      <a:pt x="2324" y="1870"/>
                      <a:pt x="2510" y="1151"/>
                      <a:pt x="2181" y="575"/>
                    </a:cubicBezTo>
                    <a:cubicBezTo>
                      <a:pt x="1962" y="206"/>
                      <a:pt x="1571" y="0"/>
                      <a:pt x="1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40"/>
              <p:cNvSpPr/>
              <p:nvPr/>
            </p:nvSpPr>
            <p:spPr>
              <a:xfrm>
                <a:off x="7148230" y="1853323"/>
                <a:ext cx="51482" cy="47880"/>
              </a:xfrm>
              <a:custGeom>
                <a:avLst/>
                <a:gdLst/>
                <a:ahLst/>
                <a:cxnLst/>
                <a:rect l="l" t="t" r="r" b="b"/>
                <a:pathLst>
                  <a:path w="2387" h="2220" extrusionOk="0">
                    <a:moveTo>
                      <a:pt x="1096" y="1"/>
                    </a:moveTo>
                    <a:cubicBezTo>
                      <a:pt x="904" y="1"/>
                      <a:pt x="711" y="49"/>
                      <a:pt x="535" y="150"/>
                    </a:cubicBezTo>
                    <a:cubicBezTo>
                      <a:pt x="1" y="479"/>
                      <a:pt x="247" y="912"/>
                      <a:pt x="555" y="1466"/>
                    </a:cubicBezTo>
                    <a:cubicBezTo>
                      <a:pt x="790" y="1872"/>
                      <a:pt x="1000" y="2219"/>
                      <a:pt x="1322" y="2219"/>
                    </a:cubicBezTo>
                    <a:cubicBezTo>
                      <a:pt x="1424" y="2219"/>
                      <a:pt x="1537" y="2184"/>
                      <a:pt x="1666" y="2105"/>
                    </a:cubicBezTo>
                    <a:cubicBezTo>
                      <a:pt x="2222" y="1795"/>
                      <a:pt x="2387" y="1096"/>
                      <a:pt x="2078" y="561"/>
                    </a:cubicBezTo>
                    <a:cubicBezTo>
                      <a:pt x="1871" y="202"/>
                      <a:pt x="1487" y="1"/>
                      <a:pt x="109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40"/>
              <p:cNvSpPr/>
              <p:nvPr/>
            </p:nvSpPr>
            <p:spPr>
              <a:xfrm>
                <a:off x="7148230" y="1853474"/>
                <a:ext cx="43933" cy="47449"/>
              </a:xfrm>
              <a:custGeom>
                <a:avLst/>
                <a:gdLst/>
                <a:ahLst/>
                <a:cxnLst/>
                <a:rect l="l" t="t" r="r" b="b"/>
                <a:pathLst>
                  <a:path w="2037" h="2200" extrusionOk="0">
                    <a:moveTo>
                      <a:pt x="1080" y="1"/>
                    </a:moveTo>
                    <a:cubicBezTo>
                      <a:pt x="894" y="1"/>
                      <a:pt x="707" y="47"/>
                      <a:pt x="535" y="143"/>
                    </a:cubicBezTo>
                    <a:cubicBezTo>
                      <a:pt x="1" y="472"/>
                      <a:pt x="247" y="905"/>
                      <a:pt x="555" y="1459"/>
                    </a:cubicBezTo>
                    <a:cubicBezTo>
                      <a:pt x="802" y="1871"/>
                      <a:pt x="1008" y="2200"/>
                      <a:pt x="1358" y="2200"/>
                    </a:cubicBezTo>
                    <a:cubicBezTo>
                      <a:pt x="659" y="1645"/>
                      <a:pt x="514" y="1336"/>
                      <a:pt x="2036" y="513"/>
                    </a:cubicBezTo>
                    <a:cubicBezTo>
                      <a:pt x="1817" y="184"/>
                      <a:pt x="1451" y="1"/>
                      <a:pt x="10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40"/>
              <p:cNvSpPr/>
              <p:nvPr/>
            </p:nvSpPr>
            <p:spPr>
              <a:xfrm>
                <a:off x="7019559" y="1918263"/>
                <a:ext cx="54156" cy="49842"/>
              </a:xfrm>
              <a:custGeom>
                <a:avLst/>
                <a:gdLst/>
                <a:ahLst/>
                <a:cxnLst/>
                <a:rect l="l" t="t" r="r" b="b"/>
                <a:pathLst>
                  <a:path w="2511" h="2311" extrusionOk="0">
                    <a:moveTo>
                      <a:pt x="1165" y="0"/>
                    </a:moveTo>
                    <a:cubicBezTo>
                      <a:pt x="959" y="0"/>
                      <a:pt x="749" y="53"/>
                      <a:pt x="555" y="164"/>
                    </a:cubicBezTo>
                    <a:cubicBezTo>
                      <a:pt x="1" y="493"/>
                      <a:pt x="267" y="945"/>
                      <a:pt x="596" y="1500"/>
                    </a:cubicBezTo>
                    <a:cubicBezTo>
                      <a:pt x="849" y="1941"/>
                      <a:pt x="1065" y="2310"/>
                      <a:pt x="1412" y="2310"/>
                    </a:cubicBezTo>
                    <a:cubicBezTo>
                      <a:pt x="1518" y="2310"/>
                      <a:pt x="1635" y="2276"/>
                      <a:pt x="1770" y="2199"/>
                    </a:cubicBezTo>
                    <a:cubicBezTo>
                      <a:pt x="2324" y="1850"/>
                      <a:pt x="2510" y="1130"/>
                      <a:pt x="2181" y="575"/>
                    </a:cubicBezTo>
                    <a:cubicBezTo>
                      <a:pt x="1963" y="206"/>
                      <a:pt x="1572"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40"/>
              <p:cNvSpPr/>
              <p:nvPr/>
            </p:nvSpPr>
            <p:spPr>
              <a:xfrm>
                <a:off x="7016906" y="1915351"/>
                <a:ext cx="51482" cy="47707"/>
              </a:xfrm>
              <a:custGeom>
                <a:avLst/>
                <a:gdLst/>
                <a:ahLst/>
                <a:cxnLst/>
                <a:rect l="l" t="t" r="r" b="b"/>
                <a:pathLst>
                  <a:path w="2387" h="2212" extrusionOk="0">
                    <a:moveTo>
                      <a:pt x="1103" y="0"/>
                    </a:moveTo>
                    <a:cubicBezTo>
                      <a:pt x="910" y="0"/>
                      <a:pt x="715" y="50"/>
                      <a:pt x="535" y="154"/>
                    </a:cubicBezTo>
                    <a:cubicBezTo>
                      <a:pt x="0" y="463"/>
                      <a:pt x="226" y="916"/>
                      <a:pt x="555" y="1451"/>
                    </a:cubicBezTo>
                    <a:cubicBezTo>
                      <a:pt x="793" y="1862"/>
                      <a:pt x="1005" y="2212"/>
                      <a:pt x="1334" y="2212"/>
                    </a:cubicBezTo>
                    <a:cubicBezTo>
                      <a:pt x="1433" y="2212"/>
                      <a:pt x="1542" y="2180"/>
                      <a:pt x="1666" y="2109"/>
                    </a:cubicBezTo>
                    <a:cubicBezTo>
                      <a:pt x="2201" y="1780"/>
                      <a:pt x="2387" y="1100"/>
                      <a:pt x="2077" y="565"/>
                    </a:cubicBezTo>
                    <a:cubicBezTo>
                      <a:pt x="1858" y="197"/>
                      <a:pt x="1486" y="0"/>
                      <a:pt x="110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40"/>
              <p:cNvSpPr/>
              <p:nvPr/>
            </p:nvSpPr>
            <p:spPr>
              <a:xfrm>
                <a:off x="7016906" y="1915308"/>
                <a:ext cx="43933" cy="47319"/>
              </a:xfrm>
              <a:custGeom>
                <a:avLst/>
                <a:gdLst/>
                <a:ahLst/>
                <a:cxnLst/>
                <a:rect l="l" t="t" r="r" b="b"/>
                <a:pathLst>
                  <a:path w="2037" h="2194" extrusionOk="0">
                    <a:moveTo>
                      <a:pt x="1092" y="1"/>
                    </a:moveTo>
                    <a:cubicBezTo>
                      <a:pt x="902" y="1"/>
                      <a:pt x="710" y="51"/>
                      <a:pt x="535" y="156"/>
                    </a:cubicBezTo>
                    <a:cubicBezTo>
                      <a:pt x="0" y="465"/>
                      <a:pt x="226" y="918"/>
                      <a:pt x="555" y="1453"/>
                    </a:cubicBezTo>
                    <a:cubicBezTo>
                      <a:pt x="795" y="1853"/>
                      <a:pt x="996" y="2194"/>
                      <a:pt x="1330" y="2194"/>
                    </a:cubicBezTo>
                    <a:cubicBezTo>
                      <a:pt x="1339" y="2194"/>
                      <a:pt x="1348" y="2194"/>
                      <a:pt x="1358" y="2193"/>
                    </a:cubicBezTo>
                    <a:cubicBezTo>
                      <a:pt x="659" y="1658"/>
                      <a:pt x="494" y="1349"/>
                      <a:pt x="2036" y="526"/>
                    </a:cubicBezTo>
                    <a:cubicBezTo>
                      <a:pt x="1819" y="188"/>
                      <a:pt x="1459" y="1"/>
                      <a:pt x="10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40"/>
              <p:cNvSpPr/>
              <p:nvPr/>
            </p:nvSpPr>
            <p:spPr>
              <a:xfrm>
                <a:off x="7376716" y="1754522"/>
                <a:ext cx="54156" cy="49886"/>
              </a:xfrm>
              <a:custGeom>
                <a:avLst/>
                <a:gdLst/>
                <a:ahLst/>
                <a:cxnLst/>
                <a:rect l="l" t="t" r="r" b="b"/>
                <a:pathLst>
                  <a:path w="2511" h="2313" extrusionOk="0">
                    <a:moveTo>
                      <a:pt x="1165" y="1"/>
                    </a:moveTo>
                    <a:cubicBezTo>
                      <a:pt x="959" y="1"/>
                      <a:pt x="750" y="53"/>
                      <a:pt x="557" y="164"/>
                    </a:cubicBezTo>
                    <a:cubicBezTo>
                      <a:pt x="0" y="493"/>
                      <a:pt x="247" y="945"/>
                      <a:pt x="576" y="1521"/>
                    </a:cubicBezTo>
                    <a:cubicBezTo>
                      <a:pt x="829" y="1947"/>
                      <a:pt x="1056" y="2312"/>
                      <a:pt x="1399" y="2312"/>
                    </a:cubicBezTo>
                    <a:cubicBezTo>
                      <a:pt x="1504" y="2312"/>
                      <a:pt x="1620" y="2278"/>
                      <a:pt x="1750" y="2201"/>
                    </a:cubicBezTo>
                    <a:cubicBezTo>
                      <a:pt x="2326" y="1872"/>
                      <a:pt x="2510" y="1131"/>
                      <a:pt x="2181" y="575"/>
                    </a:cubicBezTo>
                    <a:cubicBezTo>
                      <a:pt x="1962" y="206"/>
                      <a:pt x="1571"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40"/>
              <p:cNvSpPr/>
              <p:nvPr/>
            </p:nvSpPr>
            <p:spPr>
              <a:xfrm>
                <a:off x="7373632" y="1751718"/>
                <a:ext cx="51913" cy="47621"/>
              </a:xfrm>
              <a:custGeom>
                <a:avLst/>
                <a:gdLst/>
                <a:ahLst/>
                <a:cxnLst/>
                <a:rect l="l" t="t" r="r" b="b"/>
                <a:pathLst>
                  <a:path w="2407" h="2208" extrusionOk="0">
                    <a:moveTo>
                      <a:pt x="1111" y="1"/>
                    </a:moveTo>
                    <a:cubicBezTo>
                      <a:pt x="922" y="1"/>
                      <a:pt x="730" y="49"/>
                      <a:pt x="555" y="150"/>
                    </a:cubicBezTo>
                    <a:cubicBezTo>
                      <a:pt x="0" y="480"/>
                      <a:pt x="247" y="911"/>
                      <a:pt x="576" y="1446"/>
                    </a:cubicBezTo>
                    <a:cubicBezTo>
                      <a:pt x="813" y="1857"/>
                      <a:pt x="1026" y="2207"/>
                      <a:pt x="1355" y="2207"/>
                    </a:cubicBezTo>
                    <a:cubicBezTo>
                      <a:pt x="1454" y="2207"/>
                      <a:pt x="1563" y="2176"/>
                      <a:pt x="1687" y="2104"/>
                    </a:cubicBezTo>
                    <a:cubicBezTo>
                      <a:pt x="2222" y="1796"/>
                      <a:pt x="2406" y="1097"/>
                      <a:pt x="2099" y="562"/>
                    </a:cubicBezTo>
                    <a:cubicBezTo>
                      <a:pt x="1878" y="202"/>
                      <a:pt x="1498" y="1"/>
                      <a:pt x="11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40"/>
              <p:cNvSpPr/>
              <p:nvPr/>
            </p:nvSpPr>
            <p:spPr>
              <a:xfrm>
                <a:off x="7373632" y="1751589"/>
                <a:ext cx="44386" cy="47750"/>
              </a:xfrm>
              <a:custGeom>
                <a:avLst/>
                <a:gdLst/>
                <a:ahLst/>
                <a:cxnLst/>
                <a:rect l="l" t="t" r="r" b="b"/>
                <a:pathLst>
                  <a:path w="2058" h="2214" extrusionOk="0">
                    <a:moveTo>
                      <a:pt x="1114" y="0"/>
                    </a:moveTo>
                    <a:cubicBezTo>
                      <a:pt x="924" y="0"/>
                      <a:pt x="731" y="51"/>
                      <a:pt x="555" y="156"/>
                    </a:cubicBezTo>
                    <a:cubicBezTo>
                      <a:pt x="0" y="486"/>
                      <a:pt x="247" y="917"/>
                      <a:pt x="576" y="1452"/>
                    </a:cubicBezTo>
                    <a:cubicBezTo>
                      <a:pt x="823" y="1884"/>
                      <a:pt x="1029" y="2214"/>
                      <a:pt x="1358" y="2214"/>
                    </a:cubicBezTo>
                    <a:cubicBezTo>
                      <a:pt x="678" y="1657"/>
                      <a:pt x="514" y="1350"/>
                      <a:pt x="2058" y="527"/>
                    </a:cubicBezTo>
                    <a:cubicBezTo>
                      <a:pt x="1841" y="187"/>
                      <a:pt x="1481" y="0"/>
                      <a:pt x="111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40"/>
              <p:cNvSpPr/>
              <p:nvPr/>
            </p:nvSpPr>
            <p:spPr>
              <a:xfrm>
                <a:off x="6771511" y="2039947"/>
                <a:ext cx="54630" cy="49799"/>
              </a:xfrm>
              <a:custGeom>
                <a:avLst/>
                <a:gdLst/>
                <a:ahLst/>
                <a:cxnLst/>
                <a:rect l="l" t="t" r="r" b="b"/>
                <a:pathLst>
                  <a:path w="2533" h="2309" extrusionOk="0">
                    <a:moveTo>
                      <a:pt x="1173" y="1"/>
                    </a:moveTo>
                    <a:cubicBezTo>
                      <a:pt x="962" y="1"/>
                      <a:pt x="749" y="58"/>
                      <a:pt x="557" y="178"/>
                    </a:cubicBezTo>
                    <a:cubicBezTo>
                      <a:pt x="1" y="529"/>
                      <a:pt x="269" y="981"/>
                      <a:pt x="618" y="1536"/>
                    </a:cubicBezTo>
                    <a:cubicBezTo>
                      <a:pt x="884" y="1958"/>
                      <a:pt x="1114" y="2309"/>
                      <a:pt x="1453" y="2309"/>
                    </a:cubicBezTo>
                    <a:cubicBezTo>
                      <a:pt x="1560" y="2309"/>
                      <a:pt x="1678" y="2273"/>
                      <a:pt x="1811" y="2194"/>
                    </a:cubicBezTo>
                    <a:cubicBezTo>
                      <a:pt x="2368" y="1845"/>
                      <a:pt x="2532" y="1124"/>
                      <a:pt x="2182" y="570"/>
                    </a:cubicBezTo>
                    <a:cubicBezTo>
                      <a:pt x="1966" y="205"/>
                      <a:pt x="1574" y="1"/>
                      <a:pt x="11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40"/>
              <p:cNvSpPr/>
              <p:nvPr/>
            </p:nvSpPr>
            <p:spPr>
              <a:xfrm>
                <a:off x="6768858" y="2037466"/>
                <a:ext cx="51956" cy="47492"/>
              </a:xfrm>
              <a:custGeom>
                <a:avLst/>
                <a:gdLst/>
                <a:ahLst/>
                <a:cxnLst/>
                <a:rect l="l" t="t" r="r" b="b"/>
                <a:pathLst>
                  <a:path w="2409" h="2202" extrusionOk="0">
                    <a:moveTo>
                      <a:pt x="1112" y="0"/>
                    </a:moveTo>
                    <a:cubicBezTo>
                      <a:pt x="908" y="0"/>
                      <a:pt x="702" y="55"/>
                      <a:pt x="516" y="170"/>
                    </a:cubicBezTo>
                    <a:cubicBezTo>
                      <a:pt x="0" y="499"/>
                      <a:pt x="247" y="932"/>
                      <a:pt x="577" y="1466"/>
                    </a:cubicBezTo>
                    <a:cubicBezTo>
                      <a:pt x="824" y="1869"/>
                      <a:pt x="1048" y="2201"/>
                      <a:pt x="1364" y="2201"/>
                    </a:cubicBezTo>
                    <a:cubicBezTo>
                      <a:pt x="1467" y="2201"/>
                      <a:pt x="1581" y="2165"/>
                      <a:pt x="1709" y="2084"/>
                    </a:cubicBezTo>
                    <a:cubicBezTo>
                      <a:pt x="2244" y="1754"/>
                      <a:pt x="2408" y="1055"/>
                      <a:pt x="2079" y="540"/>
                    </a:cubicBezTo>
                    <a:cubicBezTo>
                      <a:pt x="1865" y="191"/>
                      <a:pt x="1493" y="0"/>
                      <a:pt x="11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40"/>
              <p:cNvSpPr/>
              <p:nvPr/>
            </p:nvSpPr>
            <p:spPr>
              <a:xfrm>
                <a:off x="6768858" y="2037423"/>
                <a:ext cx="43955" cy="47211"/>
              </a:xfrm>
              <a:custGeom>
                <a:avLst/>
                <a:gdLst/>
                <a:ahLst/>
                <a:cxnLst/>
                <a:rect l="l" t="t" r="r" b="b"/>
                <a:pathLst>
                  <a:path w="2038" h="2189" extrusionOk="0">
                    <a:moveTo>
                      <a:pt x="1101" y="0"/>
                    </a:moveTo>
                    <a:cubicBezTo>
                      <a:pt x="900" y="0"/>
                      <a:pt x="698" y="55"/>
                      <a:pt x="516" y="172"/>
                    </a:cubicBezTo>
                    <a:cubicBezTo>
                      <a:pt x="0" y="501"/>
                      <a:pt x="247" y="934"/>
                      <a:pt x="577" y="1468"/>
                    </a:cubicBezTo>
                    <a:cubicBezTo>
                      <a:pt x="816" y="1867"/>
                      <a:pt x="1055" y="2189"/>
                      <a:pt x="1369" y="2189"/>
                    </a:cubicBezTo>
                    <a:cubicBezTo>
                      <a:pt x="1379" y="2189"/>
                      <a:pt x="1389" y="2188"/>
                      <a:pt x="1399" y="2188"/>
                    </a:cubicBezTo>
                    <a:cubicBezTo>
                      <a:pt x="700" y="1653"/>
                      <a:pt x="535" y="1365"/>
                      <a:pt x="2038" y="501"/>
                    </a:cubicBezTo>
                    <a:cubicBezTo>
                      <a:pt x="1825" y="182"/>
                      <a:pt x="1467" y="0"/>
                      <a:pt x="11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40"/>
              <p:cNvSpPr/>
              <p:nvPr/>
            </p:nvSpPr>
            <p:spPr>
              <a:xfrm>
                <a:off x="6657936" y="2095418"/>
                <a:ext cx="54609" cy="49799"/>
              </a:xfrm>
              <a:custGeom>
                <a:avLst/>
                <a:gdLst/>
                <a:ahLst/>
                <a:cxnLst/>
                <a:rect l="l" t="t" r="r" b="b"/>
                <a:pathLst>
                  <a:path w="2532" h="2309" extrusionOk="0">
                    <a:moveTo>
                      <a:pt x="1169" y="0"/>
                    </a:moveTo>
                    <a:cubicBezTo>
                      <a:pt x="960" y="0"/>
                      <a:pt x="748" y="57"/>
                      <a:pt x="557" y="178"/>
                    </a:cubicBezTo>
                    <a:cubicBezTo>
                      <a:pt x="0" y="527"/>
                      <a:pt x="269" y="980"/>
                      <a:pt x="618" y="1536"/>
                    </a:cubicBezTo>
                    <a:cubicBezTo>
                      <a:pt x="868" y="1958"/>
                      <a:pt x="1106" y="2309"/>
                      <a:pt x="1450" y="2309"/>
                    </a:cubicBezTo>
                    <a:cubicBezTo>
                      <a:pt x="1558" y="2309"/>
                      <a:pt x="1678" y="2274"/>
                      <a:pt x="1811" y="2194"/>
                    </a:cubicBezTo>
                    <a:cubicBezTo>
                      <a:pt x="2346" y="1844"/>
                      <a:pt x="2532" y="1103"/>
                      <a:pt x="2181" y="568"/>
                    </a:cubicBezTo>
                    <a:cubicBezTo>
                      <a:pt x="1953" y="205"/>
                      <a:pt x="1565" y="0"/>
                      <a:pt x="116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40"/>
              <p:cNvSpPr/>
              <p:nvPr/>
            </p:nvSpPr>
            <p:spPr>
              <a:xfrm>
                <a:off x="6654852" y="2092916"/>
                <a:ext cx="52366" cy="47470"/>
              </a:xfrm>
              <a:custGeom>
                <a:avLst/>
                <a:gdLst/>
                <a:ahLst/>
                <a:cxnLst/>
                <a:rect l="l" t="t" r="r" b="b"/>
                <a:pathLst>
                  <a:path w="2428" h="2201" extrusionOk="0">
                    <a:moveTo>
                      <a:pt x="1137" y="1"/>
                    </a:moveTo>
                    <a:cubicBezTo>
                      <a:pt x="931" y="1"/>
                      <a:pt x="723" y="55"/>
                      <a:pt x="535" y="171"/>
                    </a:cubicBezTo>
                    <a:cubicBezTo>
                      <a:pt x="0" y="500"/>
                      <a:pt x="267" y="931"/>
                      <a:pt x="596" y="1466"/>
                    </a:cubicBezTo>
                    <a:cubicBezTo>
                      <a:pt x="844" y="1869"/>
                      <a:pt x="1057" y="2201"/>
                      <a:pt x="1375" y="2201"/>
                    </a:cubicBezTo>
                    <a:cubicBezTo>
                      <a:pt x="1480" y="2201"/>
                      <a:pt x="1596" y="2165"/>
                      <a:pt x="1728" y="2083"/>
                    </a:cubicBezTo>
                    <a:cubicBezTo>
                      <a:pt x="2263" y="1754"/>
                      <a:pt x="2428" y="1055"/>
                      <a:pt x="2099" y="520"/>
                    </a:cubicBezTo>
                    <a:cubicBezTo>
                      <a:pt x="1885" y="187"/>
                      <a:pt x="1516" y="1"/>
                      <a:pt x="113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40"/>
              <p:cNvSpPr/>
              <p:nvPr/>
            </p:nvSpPr>
            <p:spPr>
              <a:xfrm>
                <a:off x="6654852" y="2092873"/>
                <a:ext cx="44386" cy="47233"/>
              </a:xfrm>
              <a:custGeom>
                <a:avLst/>
                <a:gdLst/>
                <a:ahLst/>
                <a:cxnLst/>
                <a:rect l="l" t="t" r="r" b="b"/>
                <a:pathLst>
                  <a:path w="2058" h="2190" extrusionOk="0">
                    <a:moveTo>
                      <a:pt x="1121" y="1"/>
                    </a:moveTo>
                    <a:cubicBezTo>
                      <a:pt x="921" y="1"/>
                      <a:pt x="719" y="55"/>
                      <a:pt x="535" y="173"/>
                    </a:cubicBezTo>
                    <a:cubicBezTo>
                      <a:pt x="0" y="502"/>
                      <a:pt x="267" y="933"/>
                      <a:pt x="596" y="1468"/>
                    </a:cubicBezTo>
                    <a:cubicBezTo>
                      <a:pt x="836" y="1868"/>
                      <a:pt x="1057" y="2190"/>
                      <a:pt x="1371" y="2190"/>
                    </a:cubicBezTo>
                    <a:cubicBezTo>
                      <a:pt x="1380" y="2190"/>
                      <a:pt x="1390" y="2190"/>
                      <a:pt x="1399" y="2189"/>
                    </a:cubicBezTo>
                    <a:cubicBezTo>
                      <a:pt x="700" y="1654"/>
                      <a:pt x="535" y="1366"/>
                      <a:pt x="2057" y="481"/>
                    </a:cubicBezTo>
                    <a:cubicBezTo>
                      <a:pt x="1832" y="177"/>
                      <a:pt x="1480" y="1"/>
                      <a:pt x="112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40"/>
              <p:cNvSpPr/>
              <p:nvPr/>
            </p:nvSpPr>
            <p:spPr>
              <a:xfrm>
                <a:off x="6527949" y="2160509"/>
                <a:ext cx="54587" cy="49735"/>
              </a:xfrm>
              <a:custGeom>
                <a:avLst/>
                <a:gdLst/>
                <a:ahLst/>
                <a:cxnLst/>
                <a:rect l="l" t="t" r="r" b="b"/>
                <a:pathLst>
                  <a:path w="2531" h="2306" extrusionOk="0">
                    <a:moveTo>
                      <a:pt x="1190" y="1"/>
                    </a:moveTo>
                    <a:cubicBezTo>
                      <a:pt x="973" y="1"/>
                      <a:pt x="753" y="60"/>
                      <a:pt x="555" y="184"/>
                    </a:cubicBezTo>
                    <a:cubicBezTo>
                      <a:pt x="1" y="534"/>
                      <a:pt x="267" y="987"/>
                      <a:pt x="618" y="1541"/>
                    </a:cubicBezTo>
                    <a:cubicBezTo>
                      <a:pt x="879" y="1959"/>
                      <a:pt x="1107" y="2306"/>
                      <a:pt x="1439" y="2306"/>
                    </a:cubicBezTo>
                    <a:cubicBezTo>
                      <a:pt x="1550" y="2306"/>
                      <a:pt x="1672" y="2267"/>
                      <a:pt x="1811" y="2180"/>
                    </a:cubicBezTo>
                    <a:cubicBezTo>
                      <a:pt x="2366" y="1851"/>
                      <a:pt x="2530" y="1110"/>
                      <a:pt x="2181" y="554"/>
                    </a:cubicBezTo>
                    <a:cubicBezTo>
                      <a:pt x="1969" y="196"/>
                      <a:pt x="1585" y="1"/>
                      <a:pt x="11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40"/>
              <p:cNvSpPr/>
              <p:nvPr/>
            </p:nvSpPr>
            <p:spPr>
              <a:xfrm>
                <a:off x="6525296" y="2158115"/>
                <a:ext cx="51913" cy="47470"/>
              </a:xfrm>
              <a:custGeom>
                <a:avLst/>
                <a:gdLst/>
                <a:ahLst/>
                <a:cxnLst/>
                <a:rect l="l" t="t" r="r" b="b"/>
                <a:pathLst>
                  <a:path w="2407" h="2201" extrusionOk="0">
                    <a:moveTo>
                      <a:pt x="1115" y="1"/>
                    </a:moveTo>
                    <a:cubicBezTo>
                      <a:pt x="910" y="1"/>
                      <a:pt x="702" y="56"/>
                      <a:pt x="514" y="171"/>
                    </a:cubicBezTo>
                    <a:cubicBezTo>
                      <a:pt x="0" y="500"/>
                      <a:pt x="247" y="933"/>
                      <a:pt x="576" y="1468"/>
                    </a:cubicBezTo>
                    <a:cubicBezTo>
                      <a:pt x="826" y="1857"/>
                      <a:pt x="1051" y="2200"/>
                      <a:pt x="1370" y="2200"/>
                    </a:cubicBezTo>
                    <a:cubicBezTo>
                      <a:pt x="1471" y="2200"/>
                      <a:pt x="1582" y="2165"/>
                      <a:pt x="1707" y="2085"/>
                    </a:cubicBezTo>
                    <a:cubicBezTo>
                      <a:pt x="2242" y="1756"/>
                      <a:pt x="2406" y="1057"/>
                      <a:pt x="2077" y="522"/>
                    </a:cubicBezTo>
                    <a:cubicBezTo>
                      <a:pt x="1864" y="188"/>
                      <a:pt x="1494" y="1"/>
                      <a:pt x="11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40"/>
              <p:cNvSpPr/>
              <p:nvPr/>
            </p:nvSpPr>
            <p:spPr>
              <a:xfrm>
                <a:off x="6525296" y="2157985"/>
                <a:ext cx="43911" cy="47341"/>
              </a:xfrm>
              <a:custGeom>
                <a:avLst/>
                <a:gdLst/>
                <a:ahLst/>
                <a:cxnLst/>
                <a:rect l="l" t="t" r="r" b="b"/>
                <a:pathLst>
                  <a:path w="2036" h="2195" extrusionOk="0">
                    <a:moveTo>
                      <a:pt x="1118" y="0"/>
                    </a:moveTo>
                    <a:cubicBezTo>
                      <a:pt x="911" y="0"/>
                      <a:pt x="702" y="57"/>
                      <a:pt x="514" y="177"/>
                    </a:cubicBezTo>
                    <a:cubicBezTo>
                      <a:pt x="0" y="506"/>
                      <a:pt x="247" y="939"/>
                      <a:pt x="576" y="1474"/>
                    </a:cubicBezTo>
                    <a:cubicBezTo>
                      <a:pt x="815" y="1873"/>
                      <a:pt x="1055" y="2194"/>
                      <a:pt x="1369" y="2194"/>
                    </a:cubicBezTo>
                    <a:cubicBezTo>
                      <a:pt x="1379" y="2194"/>
                      <a:pt x="1389" y="2194"/>
                      <a:pt x="1399" y="2193"/>
                    </a:cubicBezTo>
                    <a:cubicBezTo>
                      <a:pt x="700" y="1658"/>
                      <a:pt x="535" y="1351"/>
                      <a:pt x="2036" y="487"/>
                    </a:cubicBezTo>
                    <a:cubicBezTo>
                      <a:pt x="1827" y="173"/>
                      <a:pt x="1477" y="0"/>
                      <a:pt x="111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40"/>
              <p:cNvSpPr/>
              <p:nvPr/>
            </p:nvSpPr>
            <p:spPr>
              <a:xfrm>
                <a:off x="6881138" y="1988249"/>
                <a:ext cx="54566" cy="49605"/>
              </a:xfrm>
              <a:custGeom>
                <a:avLst/>
                <a:gdLst/>
                <a:ahLst/>
                <a:cxnLst/>
                <a:rect l="l" t="t" r="r" b="b"/>
                <a:pathLst>
                  <a:path w="2530" h="2300" extrusionOk="0">
                    <a:moveTo>
                      <a:pt x="1168" y="0"/>
                    </a:moveTo>
                    <a:cubicBezTo>
                      <a:pt x="959" y="0"/>
                      <a:pt x="747" y="55"/>
                      <a:pt x="555" y="169"/>
                    </a:cubicBezTo>
                    <a:cubicBezTo>
                      <a:pt x="0" y="518"/>
                      <a:pt x="267" y="970"/>
                      <a:pt x="617" y="1527"/>
                    </a:cubicBezTo>
                    <a:cubicBezTo>
                      <a:pt x="867" y="1948"/>
                      <a:pt x="1094" y="2299"/>
                      <a:pt x="1431" y="2299"/>
                    </a:cubicBezTo>
                    <a:cubicBezTo>
                      <a:pt x="1538" y="2299"/>
                      <a:pt x="1656" y="2264"/>
                      <a:pt x="1789" y="2185"/>
                    </a:cubicBezTo>
                    <a:cubicBezTo>
                      <a:pt x="2345" y="1834"/>
                      <a:pt x="2530" y="1115"/>
                      <a:pt x="2181" y="559"/>
                    </a:cubicBezTo>
                    <a:cubicBezTo>
                      <a:pt x="1951" y="196"/>
                      <a:pt x="1564" y="0"/>
                      <a:pt x="11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40"/>
              <p:cNvSpPr/>
              <p:nvPr/>
            </p:nvSpPr>
            <p:spPr>
              <a:xfrm>
                <a:off x="6878011" y="1985575"/>
                <a:ext cx="52366" cy="47449"/>
              </a:xfrm>
              <a:custGeom>
                <a:avLst/>
                <a:gdLst/>
                <a:ahLst/>
                <a:cxnLst/>
                <a:rect l="l" t="t" r="r" b="b"/>
                <a:pathLst>
                  <a:path w="2428" h="2200" extrusionOk="0">
                    <a:moveTo>
                      <a:pt x="1132" y="0"/>
                    </a:moveTo>
                    <a:cubicBezTo>
                      <a:pt x="928" y="0"/>
                      <a:pt x="722" y="55"/>
                      <a:pt x="535" y="169"/>
                    </a:cubicBezTo>
                    <a:cubicBezTo>
                      <a:pt x="0" y="499"/>
                      <a:pt x="269" y="930"/>
                      <a:pt x="598" y="1465"/>
                    </a:cubicBezTo>
                    <a:cubicBezTo>
                      <a:pt x="845" y="1867"/>
                      <a:pt x="1057" y="2200"/>
                      <a:pt x="1375" y="2200"/>
                    </a:cubicBezTo>
                    <a:cubicBezTo>
                      <a:pt x="1480" y="2200"/>
                      <a:pt x="1596" y="2163"/>
                      <a:pt x="1728" y="2082"/>
                    </a:cubicBezTo>
                    <a:cubicBezTo>
                      <a:pt x="2263" y="1753"/>
                      <a:pt x="2428" y="1053"/>
                      <a:pt x="2099" y="540"/>
                    </a:cubicBezTo>
                    <a:cubicBezTo>
                      <a:pt x="1884" y="191"/>
                      <a:pt x="1513" y="0"/>
                      <a:pt x="11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40"/>
              <p:cNvSpPr/>
              <p:nvPr/>
            </p:nvSpPr>
            <p:spPr>
              <a:xfrm>
                <a:off x="6878011" y="1985532"/>
                <a:ext cx="44386" cy="47211"/>
              </a:xfrm>
              <a:custGeom>
                <a:avLst/>
                <a:gdLst/>
                <a:ahLst/>
                <a:cxnLst/>
                <a:rect l="l" t="t" r="r" b="b"/>
                <a:pathLst>
                  <a:path w="2058" h="2189" extrusionOk="0">
                    <a:moveTo>
                      <a:pt x="1116" y="0"/>
                    </a:moveTo>
                    <a:cubicBezTo>
                      <a:pt x="918" y="0"/>
                      <a:pt x="718" y="55"/>
                      <a:pt x="535" y="171"/>
                    </a:cubicBezTo>
                    <a:cubicBezTo>
                      <a:pt x="0" y="501"/>
                      <a:pt x="269" y="932"/>
                      <a:pt x="598" y="1467"/>
                    </a:cubicBezTo>
                    <a:cubicBezTo>
                      <a:pt x="837" y="1866"/>
                      <a:pt x="1057" y="2188"/>
                      <a:pt x="1371" y="2188"/>
                    </a:cubicBezTo>
                    <a:cubicBezTo>
                      <a:pt x="1380" y="2188"/>
                      <a:pt x="1390" y="2188"/>
                      <a:pt x="1399" y="2188"/>
                    </a:cubicBezTo>
                    <a:cubicBezTo>
                      <a:pt x="700" y="1672"/>
                      <a:pt x="535" y="1365"/>
                      <a:pt x="2057" y="501"/>
                    </a:cubicBezTo>
                    <a:cubicBezTo>
                      <a:pt x="1832" y="182"/>
                      <a:pt x="1478" y="0"/>
                      <a:pt x="111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40"/>
              <p:cNvSpPr/>
              <p:nvPr/>
            </p:nvSpPr>
            <p:spPr>
              <a:xfrm>
                <a:off x="6258614" y="2310489"/>
                <a:ext cx="54609" cy="49735"/>
              </a:xfrm>
              <a:custGeom>
                <a:avLst/>
                <a:gdLst/>
                <a:ahLst/>
                <a:cxnLst/>
                <a:rect l="l" t="t" r="r" b="b"/>
                <a:pathLst>
                  <a:path w="2532" h="2306" extrusionOk="0">
                    <a:moveTo>
                      <a:pt x="1171" y="0"/>
                    </a:moveTo>
                    <a:cubicBezTo>
                      <a:pt x="953" y="0"/>
                      <a:pt x="733" y="59"/>
                      <a:pt x="535" y="183"/>
                    </a:cubicBezTo>
                    <a:cubicBezTo>
                      <a:pt x="0" y="534"/>
                      <a:pt x="269" y="986"/>
                      <a:pt x="618" y="1541"/>
                    </a:cubicBezTo>
                    <a:cubicBezTo>
                      <a:pt x="881" y="1958"/>
                      <a:pt x="1108" y="2305"/>
                      <a:pt x="1440" y="2305"/>
                    </a:cubicBezTo>
                    <a:cubicBezTo>
                      <a:pt x="1550" y="2305"/>
                      <a:pt x="1672" y="2267"/>
                      <a:pt x="1811" y="2179"/>
                    </a:cubicBezTo>
                    <a:cubicBezTo>
                      <a:pt x="2367" y="1829"/>
                      <a:pt x="2532" y="1088"/>
                      <a:pt x="2181" y="553"/>
                    </a:cubicBezTo>
                    <a:cubicBezTo>
                      <a:pt x="1956" y="196"/>
                      <a:pt x="1568" y="0"/>
                      <a:pt x="11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40"/>
              <p:cNvSpPr/>
              <p:nvPr/>
            </p:nvSpPr>
            <p:spPr>
              <a:xfrm>
                <a:off x="6255530" y="2307987"/>
                <a:ext cx="51913" cy="47556"/>
              </a:xfrm>
              <a:custGeom>
                <a:avLst/>
                <a:gdLst/>
                <a:ahLst/>
                <a:cxnLst/>
                <a:rect l="l" t="t" r="r" b="b"/>
                <a:pathLst>
                  <a:path w="2407" h="2205" extrusionOk="0">
                    <a:moveTo>
                      <a:pt x="1128" y="1"/>
                    </a:moveTo>
                    <a:cubicBezTo>
                      <a:pt x="919" y="1"/>
                      <a:pt x="706" y="58"/>
                      <a:pt x="514" y="176"/>
                    </a:cubicBezTo>
                    <a:cubicBezTo>
                      <a:pt x="0" y="505"/>
                      <a:pt x="247" y="938"/>
                      <a:pt x="596" y="1473"/>
                    </a:cubicBezTo>
                    <a:cubicBezTo>
                      <a:pt x="845" y="1862"/>
                      <a:pt x="1071" y="2204"/>
                      <a:pt x="1390" y="2204"/>
                    </a:cubicBezTo>
                    <a:cubicBezTo>
                      <a:pt x="1492" y="2204"/>
                      <a:pt x="1604" y="2169"/>
                      <a:pt x="1728" y="2090"/>
                    </a:cubicBezTo>
                    <a:cubicBezTo>
                      <a:pt x="2263" y="1739"/>
                      <a:pt x="2406" y="1040"/>
                      <a:pt x="2077" y="526"/>
                    </a:cubicBezTo>
                    <a:cubicBezTo>
                      <a:pt x="1866" y="183"/>
                      <a:pt x="1503" y="1"/>
                      <a:pt x="1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40"/>
              <p:cNvSpPr/>
              <p:nvPr/>
            </p:nvSpPr>
            <p:spPr>
              <a:xfrm>
                <a:off x="6255530" y="2307944"/>
                <a:ext cx="43933" cy="47341"/>
              </a:xfrm>
              <a:custGeom>
                <a:avLst/>
                <a:gdLst/>
                <a:ahLst/>
                <a:cxnLst/>
                <a:rect l="l" t="t" r="r" b="b"/>
                <a:pathLst>
                  <a:path w="2037" h="2195" extrusionOk="0">
                    <a:moveTo>
                      <a:pt x="1118" y="1"/>
                    </a:moveTo>
                    <a:cubicBezTo>
                      <a:pt x="911" y="1"/>
                      <a:pt x="702" y="58"/>
                      <a:pt x="514" y="178"/>
                    </a:cubicBezTo>
                    <a:cubicBezTo>
                      <a:pt x="0" y="507"/>
                      <a:pt x="247" y="940"/>
                      <a:pt x="596" y="1475"/>
                    </a:cubicBezTo>
                    <a:cubicBezTo>
                      <a:pt x="835" y="1873"/>
                      <a:pt x="1074" y="2195"/>
                      <a:pt x="1389" y="2195"/>
                    </a:cubicBezTo>
                    <a:cubicBezTo>
                      <a:pt x="1399" y="2195"/>
                      <a:pt x="1409" y="2194"/>
                      <a:pt x="1419" y="2194"/>
                    </a:cubicBezTo>
                    <a:cubicBezTo>
                      <a:pt x="700" y="1659"/>
                      <a:pt x="535" y="1371"/>
                      <a:pt x="2036" y="487"/>
                    </a:cubicBezTo>
                    <a:cubicBezTo>
                      <a:pt x="1827" y="173"/>
                      <a:pt x="1477" y="1"/>
                      <a:pt x="11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40"/>
              <p:cNvSpPr/>
              <p:nvPr/>
            </p:nvSpPr>
            <p:spPr>
              <a:xfrm>
                <a:off x="6145492" y="2366824"/>
                <a:ext cx="54156" cy="49735"/>
              </a:xfrm>
              <a:custGeom>
                <a:avLst/>
                <a:gdLst/>
                <a:ahLst/>
                <a:cxnLst/>
                <a:rect l="l" t="t" r="r" b="b"/>
                <a:pathLst>
                  <a:path w="2511" h="2306" extrusionOk="0">
                    <a:moveTo>
                      <a:pt x="1165" y="0"/>
                    </a:moveTo>
                    <a:cubicBezTo>
                      <a:pt x="950" y="0"/>
                      <a:pt x="732" y="60"/>
                      <a:pt x="535" y="185"/>
                    </a:cubicBezTo>
                    <a:cubicBezTo>
                      <a:pt x="0" y="533"/>
                      <a:pt x="267" y="986"/>
                      <a:pt x="617" y="1542"/>
                    </a:cubicBezTo>
                    <a:cubicBezTo>
                      <a:pt x="879" y="1958"/>
                      <a:pt x="1106" y="2306"/>
                      <a:pt x="1438" y="2306"/>
                    </a:cubicBezTo>
                    <a:cubicBezTo>
                      <a:pt x="1549" y="2306"/>
                      <a:pt x="1672" y="2267"/>
                      <a:pt x="1811" y="2179"/>
                    </a:cubicBezTo>
                    <a:cubicBezTo>
                      <a:pt x="2365" y="1830"/>
                      <a:pt x="2510" y="1110"/>
                      <a:pt x="2160" y="555"/>
                    </a:cubicBezTo>
                    <a:cubicBezTo>
                      <a:pt x="1935" y="196"/>
                      <a:pt x="1555" y="0"/>
                      <a:pt x="11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40"/>
              <p:cNvSpPr/>
              <p:nvPr/>
            </p:nvSpPr>
            <p:spPr>
              <a:xfrm>
                <a:off x="6142365" y="2364343"/>
                <a:ext cx="51956" cy="47599"/>
              </a:xfrm>
              <a:custGeom>
                <a:avLst/>
                <a:gdLst/>
                <a:ahLst/>
                <a:cxnLst/>
                <a:rect l="l" t="t" r="r" b="b"/>
                <a:pathLst>
                  <a:path w="2409" h="2207" extrusionOk="0">
                    <a:moveTo>
                      <a:pt x="1131" y="1"/>
                    </a:moveTo>
                    <a:cubicBezTo>
                      <a:pt x="921" y="1"/>
                      <a:pt x="708" y="58"/>
                      <a:pt x="516" y="176"/>
                    </a:cubicBezTo>
                    <a:cubicBezTo>
                      <a:pt x="0" y="505"/>
                      <a:pt x="247" y="958"/>
                      <a:pt x="598" y="1471"/>
                    </a:cubicBezTo>
                    <a:cubicBezTo>
                      <a:pt x="846" y="1874"/>
                      <a:pt x="1070" y="2206"/>
                      <a:pt x="1384" y="2206"/>
                    </a:cubicBezTo>
                    <a:cubicBezTo>
                      <a:pt x="1488" y="2206"/>
                      <a:pt x="1601" y="2170"/>
                      <a:pt x="1729" y="2089"/>
                    </a:cubicBezTo>
                    <a:cubicBezTo>
                      <a:pt x="2263" y="1759"/>
                      <a:pt x="2408" y="1060"/>
                      <a:pt x="2079" y="525"/>
                    </a:cubicBezTo>
                    <a:cubicBezTo>
                      <a:pt x="1868" y="182"/>
                      <a:pt x="1506" y="1"/>
                      <a:pt x="11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40"/>
              <p:cNvSpPr/>
              <p:nvPr/>
            </p:nvSpPr>
            <p:spPr>
              <a:xfrm>
                <a:off x="6142365" y="2364300"/>
                <a:ext cx="43955" cy="47362"/>
              </a:xfrm>
              <a:custGeom>
                <a:avLst/>
                <a:gdLst/>
                <a:ahLst/>
                <a:cxnLst/>
                <a:rect l="l" t="t" r="r" b="b"/>
                <a:pathLst>
                  <a:path w="2038" h="2196" extrusionOk="0">
                    <a:moveTo>
                      <a:pt x="1115" y="1"/>
                    </a:moveTo>
                    <a:cubicBezTo>
                      <a:pt x="911" y="1"/>
                      <a:pt x="703" y="58"/>
                      <a:pt x="516" y="178"/>
                    </a:cubicBezTo>
                    <a:cubicBezTo>
                      <a:pt x="0" y="507"/>
                      <a:pt x="247" y="960"/>
                      <a:pt x="598" y="1473"/>
                    </a:cubicBezTo>
                    <a:cubicBezTo>
                      <a:pt x="838" y="1873"/>
                      <a:pt x="1057" y="2195"/>
                      <a:pt x="1391" y="2195"/>
                    </a:cubicBezTo>
                    <a:cubicBezTo>
                      <a:pt x="1401" y="2195"/>
                      <a:pt x="1411" y="2195"/>
                      <a:pt x="1421" y="2194"/>
                    </a:cubicBezTo>
                    <a:cubicBezTo>
                      <a:pt x="700" y="1679"/>
                      <a:pt x="535" y="1371"/>
                      <a:pt x="2038" y="486"/>
                    </a:cubicBezTo>
                    <a:cubicBezTo>
                      <a:pt x="1816" y="173"/>
                      <a:pt x="1469" y="1"/>
                      <a:pt x="111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40"/>
              <p:cNvSpPr/>
              <p:nvPr/>
            </p:nvSpPr>
            <p:spPr>
              <a:xfrm>
                <a:off x="6015936" y="2433381"/>
                <a:ext cx="54566" cy="49735"/>
              </a:xfrm>
              <a:custGeom>
                <a:avLst/>
                <a:gdLst/>
                <a:ahLst/>
                <a:cxnLst/>
                <a:rect l="l" t="t" r="r" b="b"/>
                <a:pathLst>
                  <a:path w="2530" h="2306" extrusionOk="0">
                    <a:moveTo>
                      <a:pt x="1186" y="0"/>
                    </a:moveTo>
                    <a:cubicBezTo>
                      <a:pt x="971" y="0"/>
                      <a:pt x="753" y="60"/>
                      <a:pt x="555" y="184"/>
                    </a:cubicBezTo>
                    <a:cubicBezTo>
                      <a:pt x="0" y="533"/>
                      <a:pt x="267" y="986"/>
                      <a:pt x="617" y="1542"/>
                    </a:cubicBezTo>
                    <a:cubicBezTo>
                      <a:pt x="879" y="1958"/>
                      <a:pt x="1118" y="2305"/>
                      <a:pt x="1456" y="2305"/>
                    </a:cubicBezTo>
                    <a:cubicBezTo>
                      <a:pt x="1568" y="2305"/>
                      <a:pt x="1692" y="2267"/>
                      <a:pt x="1830" y="2179"/>
                    </a:cubicBezTo>
                    <a:cubicBezTo>
                      <a:pt x="2365" y="1830"/>
                      <a:pt x="2530" y="1109"/>
                      <a:pt x="2181" y="555"/>
                    </a:cubicBezTo>
                    <a:cubicBezTo>
                      <a:pt x="1955" y="196"/>
                      <a:pt x="1576" y="0"/>
                      <a:pt x="11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40"/>
              <p:cNvSpPr/>
              <p:nvPr/>
            </p:nvSpPr>
            <p:spPr>
              <a:xfrm>
                <a:off x="6013262" y="2430901"/>
                <a:ext cx="51913" cy="47535"/>
              </a:xfrm>
              <a:custGeom>
                <a:avLst/>
                <a:gdLst/>
                <a:ahLst/>
                <a:cxnLst/>
                <a:rect l="l" t="t" r="r" b="b"/>
                <a:pathLst>
                  <a:path w="2407" h="2204" extrusionOk="0">
                    <a:moveTo>
                      <a:pt x="1130" y="0"/>
                    </a:moveTo>
                    <a:cubicBezTo>
                      <a:pt x="920" y="0"/>
                      <a:pt x="707" y="58"/>
                      <a:pt x="514" y="176"/>
                    </a:cubicBezTo>
                    <a:cubicBezTo>
                      <a:pt x="1" y="505"/>
                      <a:pt x="248" y="936"/>
                      <a:pt x="577" y="1471"/>
                    </a:cubicBezTo>
                    <a:cubicBezTo>
                      <a:pt x="841" y="1861"/>
                      <a:pt x="1059" y="2203"/>
                      <a:pt x="1382" y="2203"/>
                    </a:cubicBezTo>
                    <a:cubicBezTo>
                      <a:pt x="1485" y="2203"/>
                      <a:pt x="1599" y="2168"/>
                      <a:pt x="1729" y="2088"/>
                    </a:cubicBezTo>
                    <a:cubicBezTo>
                      <a:pt x="2264" y="1739"/>
                      <a:pt x="2407" y="1040"/>
                      <a:pt x="2078" y="525"/>
                    </a:cubicBezTo>
                    <a:cubicBezTo>
                      <a:pt x="1867" y="182"/>
                      <a:pt x="1504" y="0"/>
                      <a:pt x="11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40"/>
              <p:cNvSpPr/>
              <p:nvPr/>
            </p:nvSpPr>
            <p:spPr>
              <a:xfrm>
                <a:off x="6013262" y="2430857"/>
                <a:ext cx="43933" cy="47341"/>
              </a:xfrm>
              <a:custGeom>
                <a:avLst/>
                <a:gdLst/>
                <a:ahLst/>
                <a:cxnLst/>
                <a:rect l="l" t="t" r="r" b="b"/>
                <a:pathLst>
                  <a:path w="2037" h="2195" extrusionOk="0">
                    <a:moveTo>
                      <a:pt x="1115" y="0"/>
                    </a:moveTo>
                    <a:cubicBezTo>
                      <a:pt x="910" y="0"/>
                      <a:pt x="703" y="58"/>
                      <a:pt x="514" y="178"/>
                    </a:cubicBezTo>
                    <a:cubicBezTo>
                      <a:pt x="1" y="507"/>
                      <a:pt x="248" y="938"/>
                      <a:pt x="577" y="1473"/>
                    </a:cubicBezTo>
                    <a:cubicBezTo>
                      <a:pt x="836" y="1873"/>
                      <a:pt x="1058" y="2195"/>
                      <a:pt x="1372" y="2195"/>
                    </a:cubicBezTo>
                    <a:cubicBezTo>
                      <a:pt x="1381" y="2195"/>
                      <a:pt x="1390" y="2195"/>
                      <a:pt x="1400" y="2194"/>
                    </a:cubicBezTo>
                    <a:cubicBezTo>
                      <a:pt x="700" y="1659"/>
                      <a:pt x="536" y="1371"/>
                      <a:pt x="2037" y="486"/>
                    </a:cubicBezTo>
                    <a:cubicBezTo>
                      <a:pt x="1815" y="173"/>
                      <a:pt x="1469" y="0"/>
                      <a:pt x="111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40"/>
              <p:cNvSpPr/>
              <p:nvPr/>
            </p:nvSpPr>
            <p:spPr>
              <a:xfrm>
                <a:off x="6367336" y="2257670"/>
                <a:ext cx="54566" cy="49692"/>
              </a:xfrm>
              <a:custGeom>
                <a:avLst/>
                <a:gdLst/>
                <a:ahLst/>
                <a:cxnLst/>
                <a:rect l="l" t="t" r="r" b="b"/>
                <a:pathLst>
                  <a:path w="2530" h="2304" extrusionOk="0">
                    <a:moveTo>
                      <a:pt x="1186" y="1"/>
                    </a:moveTo>
                    <a:cubicBezTo>
                      <a:pt x="971" y="1"/>
                      <a:pt x="753" y="60"/>
                      <a:pt x="555" y="185"/>
                    </a:cubicBezTo>
                    <a:cubicBezTo>
                      <a:pt x="0" y="534"/>
                      <a:pt x="267" y="986"/>
                      <a:pt x="618" y="1543"/>
                    </a:cubicBezTo>
                    <a:cubicBezTo>
                      <a:pt x="881" y="1946"/>
                      <a:pt x="1122" y="2303"/>
                      <a:pt x="1454" y="2303"/>
                    </a:cubicBezTo>
                    <a:cubicBezTo>
                      <a:pt x="1562" y="2303"/>
                      <a:pt x="1680" y="2265"/>
                      <a:pt x="1811" y="2180"/>
                    </a:cubicBezTo>
                    <a:cubicBezTo>
                      <a:pt x="2365" y="1831"/>
                      <a:pt x="2530" y="1090"/>
                      <a:pt x="2181" y="555"/>
                    </a:cubicBezTo>
                    <a:cubicBezTo>
                      <a:pt x="1955" y="197"/>
                      <a:pt x="1576" y="1"/>
                      <a:pt x="11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40"/>
              <p:cNvSpPr/>
              <p:nvPr/>
            </p:nvSpPr>
            <p:spPr>
              <a:xfrm>
                <a:off x="6364208" y="2254974"/>
                <a:ext cx="52387" cy="47578"/>
              </a:xfrm>
              <a:custGeom>
                <a:avLst/>
                <a:gdLst/>
                <a:ahLst/>
                <a:cxnLst/>
                <a:rect l="l" t="t" r="r" b="b"/>
                <a:pathLst>
                  <a:path w="2429" h="2206" extrusionOk="0">
                    <a:moveTo>
                      <a:pt x="1140" y="0"/>
                    </a:moveTo>
                    <a:cubicBezTo>
                      <a:pt x="932" y="0"/>
                      <a:pt x="721" y="60"/>
                      <a:pt x="535" y="186"/>
                    </a:cubicBezTo>
                    <a:cubicBezTo>
                      <a:pt x="1" y="516"/>
                      <a:pt x="269" y="947"/>
                      <a:pt x="598" y="1482"/>
                    </a:cubicBezTo>
                    <a:cubicBezTo>
                      <a:pt x="844" y="1867"/>
                      <a:pt x="1067" y="2205"/>
                      <a:pt x="1388" y="2205"/>
                    </a:cubicBezTo>
                    <a:cubicBezTo>
                      <a:pt x="1496" y="2205"/>
                      <a:pt x="1615" y="2167"/>
                      <a:pt x="1750" y="2079"/>
                    </a:cubicBezTo>
                    <a:cubicBezTo>
                      <a:pt x="2264" y="1750"/>
                      <a:pt x="2428" y="1050"/>
                      <a:pt x="2099" y="516"/>
                    </a:cubicBezTo>
                    <a:cubicBezTo>
                      <a:pt x="1876" y="186"/>
                      <a:pt x="1510"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40"/>
              <p:cNvSpPr/>
              <p:nvPr/>
            </p:nvSpPr>
            <p:spPr>
              <a:xfrm>
                <a:off x="6364208" y="2255147"/>
                <a:ext cx="44386" cy="47362"/>
              </a:xfrm>
              <a:custGeom>
                <a:avLst/>
                <a:gdLst/>
                <a:ahLst/>
                <a:cxnLst/>
                <a:rect l="l" t="t" r="r" b="b"/>
                <a:pathLst>
                  <a:path w="2058" h="2196" extrusionOk="0">
                    <a:moveTo>
                      <a:pt x="1136" y="1"/>
                    </a:moveTo>
                    <a:cubicBezTo>
                      <a:pt x="931" y="1"/>
                      <a:pt x="724" y="58"/>
                      <a:pt x="535" y="178"/>
                    </a:cubicBezTo>
                    <a:cubicBezTo>
                      <a:pt x="1" y="508"/>
                      <a:pt x="269" y="939"/>
                      <a:pt x="598" y="1474"/>
                    </a:cubicBezTo>
                    <a:cubicBezTo>
                      <a:pt x="857" y="1855"/>
                      <a:pt x="1079" y="2195"/>
                      <a:pt x="1394" y="2195"/>
                    </a:cubicBezTo>
                    <a:cubicBezTo>
                      <a:pt x="1403" y="2195"/>
                      <a:pt x="1412" y="2195"/>
                      <a:pt x="1421" y="2194"/>
                    </a:cubicBezTo>
                    <a:cubicBezTo>
                      <a:pt x="721" y="1660"/>
                      <a:pt x="557" y="1350"/>
                      <a:pt x="2058" y="486"/>
                    </a:cubicBezTo>
                    <a:cubicBezTo>
                      <a:pt x="1837" y="173"/>
                      <a:pt x="1491" y="1"/>
                      <a:pt x="113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40"/>
              <p:cNvSpPr/>
              <p:nvPr/>
            </p:nvSpPr>
            <p:spPr>
              <a:xfrm>
                <a:off x="5772332" y="2563778"/>
                <a:ext cx="55040" cy="49605"/>
              </a:xfrm>
              <a:custGeom>
                <a:avLst/>
                <a:gdLst/>
                <a:ahLst/>
                <a:cxnLst/>
                <a:rect l="l" t="t" r="r" b="b"/>
                <a:pathLst>
                  <a:path w="2552" h="2300" extrusionOk="0">
                    <a:moveTo>
                      <a:pt x="1217" y="1"/>
                    </a:moveTo>
                    <a:cubicBezTo>
                      <a:pt x="989" y="1"/>
                      <a:pt x="758" y="67"/>
                      <a:pt x="557" y="206"/>
                    </a:cubicBezTo>
                    <a:cubicBezTo>
                      <a:pt x="0" y="557"/>
                      <a:pt x="288" y="1010"/>
                      <a:pt x="659" y="1544"/>
                    </a:cubicBezTo>
                    <a:cubicBezTo>
                      <a:pt x="918" y="1955"/>
                      <a:pt x="1155" y="2300"/>
                      <a:pt x="1486" y="2300"/>
                    </a:cubicBezTo>
                    <a:cubicBezTo>
                      <a:pt x="1602" y="2300"/>
                      <a:pt x="1729" y="2257"/>
                      <a:pt x="1873" y="2162"/>
                    </a:cubicBezTo>
                    <a:cubicBezTo>
                      <a:pt x="2408" y="1791"/>
                      <a:pt x="2551" y="1070"/>
                      <a:pt x="2181" y="516"/>
                    </a:cubicBezTo>
                    <a:cubicBezTo>
                      <a:pt x="1963" y="182"/>
                      <a:pt x="1594" y="1"/>
                      <a:pt x="121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40"/>
              <p:cNvSpPr/>
              <p:nvPr/>
            </p:nvSpPr>
            <p:spPr>
              <a:xfrm>
                <a:off x="5769247" y="2561427"/>
                <a:ext cx="52797" cy="47341"/>
              </a:xfrm>
              <a:custGeom>
                <a:avLst/>
                <a:gdLst/>
                <a:ahLst/>
                <a:cxnLst/>
                <a:rect l="l" t="t" r="r" b="b"/>
                <a:pathLst>
                  <a:path w="2448" h="2195" extrusionOk="0">
                    <a:moveTo>
                      <a:pt x="1157" y="1"/>
                    </a:moveTo>
                    <a:cubicBezTo>
                      <a:pt x="942" y="1"/>
                      <a:pt x="726" y="62"/>
                      <a:pt x="535" y="192"/>
                    </a:cubicBezTo>
                    <a:cubicBezTo>
                      <a:pt x="0" y="543"/>
                      <a:pt x="288" y="954"/>
                      <a:pt x="617" y="1489"/>
                    </a:cubicBezTo>
                    <a:cubicBezTo>
                      <a:pt x="876" y="1870"/>
                      <a:pt x="1113" y="2194"/>
                      <a:pt x="1428" y="2194"/>
                    </a:cubicBezTo>
                    <a:cubicBezTo>
                      <a:pt x="1537" y="2194"/>
                      <a:pt x="1656" y="2155"/>
                      <a:pt x="1789" y="2065"/>
                    </a:cubicBezTo>
                    <a:cubicBezTo>
                      <a:pt x="2304" y="1714"/>
                      <a:pt x="2447" y="1015"/>
                      <a:pt x="2098" y="501"/>
                    </a:cubicBezTo>
                    <a:cubicBezTo>
                      <a:pt x="1878" y="178"/>
                      <a:pt x="1520" y="1"/>
                      <a:pt x="1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40"/>
              <p:cNvSpPr/>
              <p:nvPr/>
            </p:nvSpPr>
            <p:spPr>
              <a:xfrm>
                <a:off x="5769247" y="2561384"/>
                <a:ext cx="44386" cy="47276"/>
              </a:xfrm>
              <a:custGeom>
                <a:avLst/>
                <a:gdLst/>
                <a:ahLst/>
                <a:cxnLst/>
                <a:rect l="l" t="t" r="r" b="b"/>
                <a:pathLst>
                  <a:path w="2058" h="2192" extrusionOk="0">
                    <a:moveTo>
                      <a:pt x="1146" y="1"/>
                    </a:moveTo>
                    <a:cubicBezTo>
                      <a:pt x="934" y="1"/>
                      <a:pt x="722" y="62"/>
                      <a:pt x="535" y="194"/>
                    </a:cubicBezTo>
                    <a:cubicBezTo>
                      <a:pt x="0" y="545"/>
                      <a:pt x="288" y="956"/>
                      <a:pt x="617" y="1491"/>
                    </a:cubicBezTo>
                    <a:cubicBezTo>
                      <a:pt x="876" y="1870"/>
                      <a:pt x="1117" y="2191"/>
                      <a:pt x="1432" y="2191"/>
                    </a:cubicBezTo>
                    <a:cubicBezTo>
                      <a:pt x="1441" y="2191"/>
                      <a:pt x="1450" y="2191"/>
                      <a:pt x="1460" y="2190"/>
                    </a:cubicBezTo>
                    <a:cubicBezTo>
                      <a:pt x="741" y="1675"/>
                      <a:pt x="576" y="1367"/>
                      <a:pt x="2057" y="462"/>
                    </a:cubicBezTo>
                    <a:cubicBezTo>
                      <a:pt x="1839" y="167"/>
                      <a:pt x="1494" y="1"/>
                      <a:pt x="114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40"/>
              <p:cNvSpPr/>
              <p:nvPr/>
            </p:nvSpPr>
            <p:spPr>
              <a:xfrm>
                <a:off x="5660979" y="2623132"/>
                <a:ext cx="54566" cy="49454"/>
              </a:xfrm>
              <a:custGeom>
                <a:avLst/>
                <a:gdLst/>
                <a:ahLst/>
                <a:cxnLst/>
                <a:rect l="l" t="t" r="r" b="b"/>
                <a:pathLst>
                  <a:path w="2530" h="2293" extrusionOk="0">
                    <a:moveTo>
                      <a:pt x="1180" y="0"/>
                    </a:moveTo>
                    <a:cubicBezTo>
                      <a:pt x="957" y="0"/>
                      <a:pt x="732" y="62"/>
                      <a:pt x="535" y="191"/>
                    </a:cubicBezTo>
                    <a:cubicBezTo>
                      <a:pt x="0" y="562"/>
                      <a:pt x="267" y="1014"/>
                      <a:pt x="637" y="1549"/>
                    </a:cubicBezTo>
                    <a:cubicBezTo>
                      <a:pt x="900" y="1950"/>
                      <a:pt x="1139" y="2292"/>
                      <a:pt x="1476" y="2292"/>
                    </a:cubicBezTo>
                    <a:cubicBezTo>
                      <a:pt x="1588" y="2292"/>
                      <a:pt x="1712" y="2254"/>
                      <a:pt x="1852" y="2166"/>
                    </a:cubicBezTo>
                    <a:cubicBezTo>
                      <a:pt x="2387" y="1796"/>
                      <a:pt x="2530" y="1055"/>
                      <a:pt x="2160" y="520"/>
                    </a:cubicBezTo>
                    <a:cubicBezTo>
                      <a:pt x="1939" y="183"/>
                      <a:pt x="1563" y="0"/>
                      <a:pt x="11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40"/>
              <p:cNvSpPr/>
              <p:nvPr/>
            </p:nvSpPr>
            <p:spPr>
              <a:xfrm>
                <a:off x="5657851" y="2620436"/>
                <a:ext cx="52387" cy="47535"/>
              </a:xfrm>
              <a:custGeom>
                <a:avLst/>
                <a:gdLst/>
                <a:ahLst/>
                <a:cxnLst/>
                <a:rect l="l" t="t" r="r" b="b"/>
                <a:pathLst>
                  <a:path w="2429" h="2204" extrusionOk="0">
                    <a:moveTo>
                      <a:pt x="1138" y="1"/>
                    </a:moveTo>
                    <a:cubicBezTo>
                      <a:pt x="923" y="1"/>
                      <a:pt x="706" y="63"/>
                      <a:pt x="516" y="193"/>
                    </a:cubicBezTo>
                    <a:cubicBezTo>
                      <a:pt x="1" y="542"/>
                      <a:pt x="269" y="975"/>
                      <a:pt x="598" y="1488"/>
                    </a:cubicBezTo>
                    <a:cubicBezTo>
                      <a:pt x="860" y="1875"/>
                      <a:pt x="1100" y="2203"/>
                      <a:pt x="1421" y="2203"/>
                    </a:cubicBezTo>
                    <a:cubicBezTo>
                      <a:pt x="1527" y="2203"/>
                      <a:pt x="1642" y="2167"/>
                      <a:pt x="1770" y="2086"/>
                    </a:cubicBezTo>
                    <a:cubicBezTo>
                      <a:pt x="2285" y="1735"/>
                      <a:pt x="2428" y="1036"/>
                      <a:pt x="2079" y="501"/>
                    </a:cubicBezTo>
                    <a:cubicBezTo>
                      <a:pt x="1859" y="178"/>
                      <a:pt x="1501" y="1"/>
                      <a:pt x="11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40"/>
              <p:cNvSpPr/>
              <p:nvPr/>
            </p:nvSpPr>
            <p:spPr>
              <a:xfrm>
                <a:off x="5657851" y="2620608"/>
                <a:ext cx="43976" cy="47103"/>
              </a:xfrm>
              <a:custGeom>
                <a:avLst/>
                <a:gdLst/>
                <a:ahLst/>
                <a:cxnLst/>
                <a:rect l="l" t="t" r="r" b="b"/>
                <a:pathLst>
                  <a:path w="2039" h="2184" extrusionOk="0">
                    <a:moveTo>
                      <a:pt x="1131" y="0"/>
                    </a:moveTo>
                    <a:cubicBezTo>
                      <a:pt x="918" y="0"/>
                      <a:pt x="703" y="60"/>
                      <a:pt x="516" y="185"/>
                    </a:cubicBezTo>
                    <a:cubicBezTo>
                      <a:pt x="1" y="534"/>
                      <a:pt x="269" y="967"/>
                      <a:pt x="598" y="1480"/>
                    </a:cubicBezTo>
                    <a:cubicBezTo>
                      <a:pt x="870" y="1868"/>
                      <a:pt x="1086" y="2183"/>
                      <a:pt x="1386" y="2183"/>
                    </a:cubicBezTo>
                    <a:cubicBezTo>
                      <a:pt x="1404" y="2183"/>
                      <a:pt x="1422" y="2182"/>
                      <a:pt x="1441" y="2180"/>
                    </a:cubicBezTo>
                    <a:cubicBezTo>
                      <a:pt x="721" y="1686"/>
                      <a:pt x="557" y="1378"/>
                      <a:pt x="2038" y="452"/>
                    </a:cubicBezTo>
                    <a:cubicBezTo>
                      <a:pt x="1821" y="159"/>
                      <a:pt x="1478" y="0"/>
                      <a:pt x="113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40"/>
              <p:cNvSpPr/>
              <p:nvPr/>
            </p:nvSpPr>
            <p:spPr>
              <a:xfrm>
                <a:off x="5533191" y="2692795"/>
                <a:ext cx="55040" cy="49433"/>
              </a:xfrm>
              <a:custGeom>
                <a:avLst/>
                <a:gdLst/>
                <a:ahLst/>
                <a:cxnLst/>
                <a:rect l="l" t="t" r="r" b="b"/>
                <a:pathLst>
                  <a:path w="2552" h="2292" extrusionOk="0">
                    <a:moveTo>
                      <a:pt x="1190" y="0"/>
                    </a:moveTo>
                    <a:cubicBezTo>
                      <a:pt x="967" y="0"/>
                      <a:pt x="740" y="62"/>
                      <a:pt x="536" y="190"/>
                    </a:cubicBezTo>
                    <a:cubicBezTo>
                      <a:pt x="1" y="561"/>
                      <a:pt x="289" y="1013"/>
                      <a:pt x="638" y="1548"/>
                    </a:cubicBezTo>
                    <a:cubicBezTo>
                      <a:pt x="915" y="1949"/>
                      <a:pt x="1158" y="2292"/>
                      <a:pt x="1487" y="2292"/>
                    </a:cubicBezTo>
                    <a:cubicBezTo>
                      <a:pt x="1598" y="2292"/>
                      <a:pt x="1718" y="2253"/>
                      <a:pt x="1852" y="2165"/>
                    </a:cubicBezTo>
                    <a:cubicBezTo>
                      <a:pt x="2407" y="1795"/>
                      <a:pt x="2552" y="1054"/>
                      <a:pt x="2181" y="520"/>
                    </a:cubicBezTo>
                    <a:cubicBezTo>
                      <a:pt x="1947" y="182"/>
                      <a:pt x="1574" y="0"/>
                      <a:pt x="119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40"/>
              <p:cNvSpPr/>
              <p:nvPr/>
            </p:nvSpPr>
            <p:spPr>
              <a:xfrm>
                <a:off x="5530064" y="2690099"/>
                <a:ext cx="52387" cy="47341"/>
              </a:xfrm>
              <a:custGeom>
                <a:avLst/>
                <a:gdLst/>
                <a:ahLst/>
                <a:cxnLst/>
                <a:rect l="l" t="t" r="r" b="b"/>
                <a:pathLst>
                  <a:path w="2429" h="2195" extrusionOk="0">
                    <a:moveTo>
                      <a:pt x="1154" y="1"/>
                    </a:moveTo>
                    <a:cubicBezTo>
                      <a:pt x="936" y="1"/>
                      <a:pt x="715" y="62"/>
                      <a:pt x="516" y="192"/>
                    </a:cubicBezTo>
                    <a:cubicBezTo>
                      <a:pt x="1" y="542"/>
                      <a:pt x="269" y="974"/>
                      <a:pt x="618" y="1489"/>
                    </a:cubicBezTo>
                    <a:cubicBezTo>
                      <a:pt x="878" y="1870"/>
                      <a:pt x="1104" y="2194"/>
                      <a:pt x="1412" y="2194"/>
                    </a:cubicBezTo>
                    <a:cubicBezTo>
                      <a:pt x="1520" y="2194"/>
                      <a:pt x="1637" y="2155"/>
                      <a:pt x="1770" y="2065"/>
                    </a:cubicBezTo>
                    <a:cubicBezTo>
                      <a:pt x="2305" y="1714"/>
                      <a:pt x="2428" y="1015"/>
                      <a:pt x="2099" y="501"/>
                    </a:cubicBezTo>
                    <a:cubicBezTo>
                      <a:pt x="1880" y="177"/>
                      <a:pt x="1522" y="1"/>
                      <a:pt x="11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40"/>
              <p:cNvSpPr/>
              <p:nvPr/>
            </p:nvSpPr>
            <p:spPr>
              <a:xfrm>
                <a:off x="5530064" y="2690250"/>
                <a:ext cx="44407" cy="47082"/>
              </a:xfrm>
              <a:custGeom>
                <a:avLst/>
                <a:gdLst/>
                <a:ahLst/>
                <a:cxnLst/>
                <a:rect l="l" t="t" r="r" b="b"/>
                <a:pathLst>
                  <a:path w="2059" h="2183" extrusionOk="0">
                    <a:moveTo>
                      <a:pt x="1140" y="0"/>
                    </a:moveTo>
                    <a:cubicBezTo>
                      <a:pt x="927" y="0"/>
                      <a:pt x="711" y="60"/>
                      <a:pt x="516" y="185"/>
                    </a:cubicBezTo>
                    <a:cubicBezTo>
                      <a:pt x="1" y="535"/>
                      <a:pt x="269" y="967"/>
                      <a:pt x="618" y="1482"/>
                    </a:cubicBezTo>
                    <a:cubicBezTo>
                      <a:pt x="878" y="1881"/>
                      <a:pt x="1118" y="2182"/>
                      <a:pt x="1432" y="2182"/>
                    </a:cubicBezTo>
                    <a:cubicBezTo>
                      <a:pt x="1442" y="2182"/>
                      <a:pt x="1452" y="2182"/>
                      <a:pt x="1462" y="2181"/>
                    </a:cubicBezTo>
                    <a:cubicBezTo>
                      <a:pt x="741" y="1666"/>
                      <a:pt x="577" y="1378"/>
                      <a:pt x="2058" y="453"/>
                    </a:cubicBezTo>
                    <a:cubicBezTo>
                      <a:pt x="1828" y="159"/>
                      <a:pt x="1488" y="0"/>
                      <a:pt x="11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40"/>
              <p:cNvSpPr/>
              <p:nvPr/>
            </p:nvSpPr>
            <p:spPr>
              <a:xfrm>
                <a:off x="5880169" y="2508220"/>
                <a:ext cx="54566" cy="49433"/>
              </a:xfrm>
              <a:custGeom>
                <a:avLst/>
                <a:gdLst/>
                <a:ahLst/>
                <a:cxnLst/>
                <a:rect l="l" t="t" r="r" b="b"/>
                <a:pathLst>
                  <a:path w="2530" h="2292" extrusionOk="0">
                    <a:moveTo>
                      <a:pt x="1181" y="0"/>
                    </a:moveTo>
                    <a:cubicBezTo>
                      <a:pt x="957" y="0"/>
                      <a:pt x="732" y="62"/>
                      <a:pt x="535" y="190"/>
                    </a:cubicBezTo>
                    <a:cubicBezTo>
                      <a:pt x="0" y="561"/>
                      <a:pt x="267" y="1013"/>
                      <a:pt x="637" y="1548"/>
                    </a:cubicBezTo>
                    <a:cubicBezTo>
                      <a:pt x="914" y="1949"/>
                      <a:pt x="1157" y="2292"/>
                      <a:pt x="1487" y="2292"/>
                    </a:cubicBezTo>
                    <a:cubicBezTo>
                      <a:pt x="1597" y="2292"/>
                      <a:pt x="1717" y="2253"/>
                      <a:pt x="1852" y="2165"/>
                    </a:cubicBezTo>
                    <a:cubicBezTo>
                      <a:pt x="2387" y="1795"/>
                      <a:pt x="2530" y="1054"/>
                      <a:pt x="2181" y="519"/>
                    </a:cubicBezTo>
                    <a:cubicBezTo>
                      <a:pt x="1947" y="182"/>
                      <a:pt x="1565" y="0"/>
                      <a:pt x="1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40"/>
              <p:cNvSpPr/>
              <p:nvPr/>
            </p:nvSpPr>
            <p:spPr>
              <a:xfrm>
                <a:off x="5877042" y="2505718"/>
                <a:ext cx="52366" cy="47319"/>
              </a:xfrm>
              <a:custGeom>
                <a:avLst/>
                <a:gdLst/>
                <a:ahLst/>
                <a:cxnLst/>
                <a:rect l="l" t="t" r="r" b="b"/>
                <a:pathLst>
                  <a:path w="2428" h="2194" extrusionOk="0">
                    <a:moveTo>
                      <a:pt x="1140" y="0"/>
                    </a:moveTo>
                    <a:cubicBezTo>
                      <a:pt x="924" y="0"/>
                      <a:pt x="707" y="60"/>
                      <a:pt x="515" y="183"/>
                    </a:cubicBezTo>
                    <a:cubicBezTo>
                      <a:pt x="0" y="533"/>
                      <a:pt x="269" y="965"/>
                      <a:pt x="617" y="1480"/>
                    </a:cubicBezTo>
                    <a:cubicBezTo>
                      <a:pt x="881" y="1865"/>
                      <a:pt x="1109" y="2193"/>
                      <a:pt x="1424" y="2193"/>
                    </a:cubicBezTo>
                    <a:cubicBezTo>
                      <a:pt x="1528" y="2193"/>
                      <a:pt x="1642" y="2157"/>
                      <a:pt x="1770" y="2076"/>
                    </a:cubicBezTo>
                    <a:cubicBezTo>
                      <a:pt x="2285" y="1727"/>
                      <a:pt x="2428" y="1027"/>
                      <a:pt x="2079" y="492"/>
                    </a:cubicBezTo>
                    <a:cubicBezTo>
                      <a:pt x="1859" y="169"/>
                      <a:pt x="1502" y="0"/>
                      <a:pt x="114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40"/>
              <p:cNvSpPr/>
              <p:nvPr/>
            </p:nvSpPr>
            <p:spPr>
              <a:xfrm>
                <a:off x="5877042" y="2505697"/>
                <a:ext cx="43955" cy="47103"/>
              </a:xfrm>
              <a:custGeom>
                <a:avLst/>
                <a:gdLst/>
                <a:ahLst/>
                <a:cxnLst/>
                <a:rect l="l" t="t" r="r" b="b"/>
                <a:pathLst>
                  <a:path w="2038" h="2184" extrusionOk="0">
                    <a:moveTo>
                      <a:pt x="1124" y="0"/>
                    </a:moveTo>
                    <a:cubicBezTo>
                      <a:pt x="913" y="0"/>
                      <a:pt x="701" y="60"/>
                      <a:pt x="515" y="184"/>
                    </a:cubicBezTo>
                    <a:cubicBezTo>
                      <a:pt x="0" y="534"/>
                      <a:pt x="269" y="966"/>
                      <a:pt x="617" y="1481"/>
                    </a:cubicBezTo>
                    <a:cubicBezTo>
                      <a:pt x="870" y="1869"/>
                      <a:pt x="1085" y="2184"/>
                      <a:pt x="1403" y="2184"/>
                    </a:cubicBezTo>
                    <a:cubicBezTo>
                      <a:pt x="1422" y="2184"/>
                      <a:pt x="1442" y="2183"/>
                      <a:pt x="1462" y="2180"/>
                    </a:cubicBezTo>
                    <a:cubicBezTo>
                      <a:pt x="741" y="1686"/>
                      <a:pt x="557" y="1377"/>
                      <a:pt x="2038" y="472"/>
                    </a:cubicBezTo>
                    <a:cubicBezTo>
                      <a:pt x="1819" y="164"/>
                      <a:pt x="1473" y="0"/>
                      <a:pt x="11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40"/>
              <p:cNvSpPr/>
              <p:nvPr/>
            </p:nvSpPr>
            <p:spPr>
              <a:xfrm>
                <a:off x="7394035" y="1958486"/>
                <a:ext cx="52797" cy="50188"/>
              </a:xfrm>
              <a:custGeom>
                <a:avLst/>
                <a:gdLst/>
                <a:ahLst/>
                <a:cxnLst/>
                <a:rect l="l" t="t" r="r" b="b"/>
                <a:pathLst>
                  <a:path w="2448" h="2327" extrusionOk="0">
                    <a:moveTo>
                      <a:pt x="1100" y="1"/>
                    </a:moveTo>
                    <a:cubicBezTo>
                      <a:pt x="931" y="1"/>
                      <a:pt x="760" y="35"/>
                      <a:pt x="596" y="109"/>
                    </a:cubicBezTo>
                    <a:cubicBezTo>
                      <a:pt x="1" y="397"/>
                      <a:pt x="226" y="869"/>
                      <a:pt x="514" y="1467"/>
                    </a:cubicBezTo>
                    <a:cubicBezTo>
                      <a:pt x="728" y="1942"/>
                      <a:pt x="929" y="2327"/>
                      <a:pt x="1304" y="2327"/>
                    </a:cubicBezTo>
                    <a:cubicBezTo>
                      <a:pt x="1399" y="2327"/>
                      <a:pt x="1505" y="2302"/>
                      <a:pt x="1625" y="2248"/>
                    </a:cubicBezTo>
                    <a:cubicBezTo>
                      <a:pt x="2201" y="1960"/>
                      <a:pt x="2448" y="1261"/>
                      <a:pt x="2181" y="663"/>
                    </a:cubicBezTo>
                    <a:cubicBezTo>
                      <a:pt x="1972" y="245"/>
                      <a:pt x="1546" y="1"/>
                      <a:pt x="11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40"/>
              <p:cNvSpPr/>
              <p:nvPr/>
            </p:nvSpPr>
            <p:spPr>
              <a:xfrm>
                <a:off x="7396235" y="1965064"/>
                <a:ext cx="50597" cy="48052"/>
              </a:xfrm>
              <a:custGeom>
                <a:avLst/>
                <a:gdLst/>
                <a:ahLst/>
                <a:cxnLst/>
                <a:rect l="l" t="t" r="r" b="b"/>
                <a:pathLst>
                  <a:path w="2346" h="2228" extrusionOk="0">
                    <a:moveTo>
                      <a:pt x="1054" y="0"/>
                    </a:moveTo>
                    <a:cubicBezTo>
                      <a:pt x="889" y="0"/>
                      <a:pt x="720" y="36"/>
                      <a:pt x="557" y="112"/>
                    </a:cubicBezTo>
                    <a:cubicBezTo>
                      <a:pt x="1" y="380"/>
                      <a:pt x="206" y="832"/>
                      <a:pt x="475" y="1408"/>
                    </a:cubicBezTo>
                    <a:cubicBezTo>
                      <a:pt x="687" y="1851"/>
                      <a:pt x="875" y="2228"/>
                      <a:pt x="1233" y="2228"/>
                    </a:cubicBezTo>
                    <a:cubicBezTo>
                      <a:pt x="1325" y="2228"/>
                      <a:pt x="1427" y="2203"/>
                      <a:pt x="1544" y="2149"/>
                    </a:cubicBezTo>
                    <a:cubicBezTo>
                      <a:pt x="2099" y="1881"/>
                      <a:pt x="2346" y="1203"/>
                      <a:pt x="2058" y="646"/>
                    </a:cubicBezTo>
                    <a:cubicBezTo>
                      <a:pt x="1867" y="233"/>
                      <a:pt x="1473" y="0"/>
                      <a:pt x="105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40"/>
              <p:cNvSpPr/>
              <p:nvPr/>
            </p:nvSpPr>
            <p:spPr>
              <a:xfrm>
                <a:off x="7398478" y="1971901"/>
                <a:ext cx="47470" cy="41215"/>
              </a:xfrm>
              <a:custGeom>
                <a:avLst/>
                <a:gdLst/>
                <a:ahLst/>
                <a:cxnLst/>
                <a:rect l="l" t="t" r="r" b="b"/>
                <a:pathLst>
                  <a:path w="2201" h="1911" extrusionOk="0">
                    <a:moveTo>
                      <a:pt x="185" y="0"/>
                    </a:moveTo>
                    <a:lnTo>
                      <a:pt x="185" y="0"/>
                    </a:lnTo>
                    <a:cubicBezTo>
                      <a:pt x="0" y="269"/>
                      <a:pt x="165" y="659"/>
                      <a:pt x="371" y="1091"/>
                    </a:cubicBezTo>
                    <a:cubicBezTo>
                      <a:pt x="583" y="1534"/>
                      <a:pt x="771" y="1911"/>
                      <a:pt x="1129" y="1911"/>
                    </a:cubicBezTo>
                    <a:cubicBezTo>
                      <a:pt x="1221" y="1911"/>
                      <a:pt x="1323" y="1886"/>
                      <a:pt x="1440" y="1832"/>
                    </a:cubicBezTo>
                    <a:cubicBezTo>
                      <a:pt x="1975" y="1564"/>
                      <a:pt x="2201" y="927"/>
                      <a:pt x="1975" y="371"/>
                    </a:cubicBezTo>
                    <a:lnTo>
                      <a:pt x="1975" y="371"/>
                    </a:lnTo>
                    <a:cubicBezTo>
                      <a:pt x="1352" y="703"/>
                      <a:pt x="953" y="851"/>
                      <a:pt x="694" y="851"/>
                    </a:cubicBezTo>
                    <a:cubicBezTo>
                      <a:pt x="312" y="851"/>
                      <a:pt x="234" y="528"/>
                      <a:pt x="18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40"/>
              <p:cNvSpPr/>
              <p:nvPr/>
            </p:nvSpPr>
            <p:spPr>
              <a:xfrm>
                <a:off x="7286198" y="2024590"/>
                <a:ext cx="52840" cy="50188"/>
              </a:xfrm>
              <a:custGeom>
                <a:avLst/>
                <a:gdLst/>
                <a:ahLst/>
                <a:cxnLst/>
                <a:rect l="l" t="t" r="r" b="b"/>
                <a:pathLst>
                  <a:path w="2450" h="2327" extrusionOk="0">
                    <a:moveTo>
                      <a:pt x="1090" y="1"/>
                    </a:moveTo>
                    <a:cubicBezTo>
                      <a:pt x="923" y="1"/>
                      <a:pt x="755" y="36"/>
                      <a:pt x="598" y="108"/>
                    </a:cubicBezTo>
                    <a:cubicBezTo>
                      <a:pt x="1" y="396"/>
                      <a:pt x="228" y="870"/>
                      <a:pt x="494" y="1466"/>
                    </a:cubicBezTo>
                    <a:cubicBezTo>
                      <a:pt x="724" y="1943"/>
                      <a:pt x="928" y="2327"/>
                      <a:pt x="1293" y="2327"/>
                    </a:cubicBezTo>
                    <a:cubicBezTo>
                      <a:pt x="1386" y="2327"/>
                      <a:pt x="1489" y="2302"/>
                      <a:pt x="1605" y="2248"/>
                    </a:cubicBezTo>
                    <a:cubicBezTo>
                      <a:pt x="2203" y="1960"/>
                      <a:pt x="2450" y="1260"/>
                      <a:pt x="2162" y="665"/>
                    </a:cubicBezTo>
                    <a:cubicBezTo>
                      <a:pt x="1967" y="246"/>
                      <a:pt x="1533" y="1"/>
                      <a:pt x="109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40"/>
              <p:cNvSpPr/>
              <p:nvPr/>
            </p:nvSpPr>
            <p:spPr>
              <a:xfrm>
                <a:off x="7288441" y="2031169"/>
                <a:ext cx="50144" cy="48052"/>
              </a:xfrm>
              <a:custGeom>
                <a:avLst/>
                <a:gdLst/>
                <a:ahLst/>
                <a:cxnLst/>
                <a:rect l="l" t="t" r="r" b="b"/>
                <a:pathLst>
                  <a:path w="2325" h="2228" extrusionOk="0">
                    <a:moveTo>
                      <a:pt x="1044" y="1"/>
                    </a:moveTo>
                    <a:cubicBezTo>
                      <a:pt x="879" y="1"/>
                      <a:pt x="712" y="37"/>
                      <a:pt x="555" y="113"/>
                    </a:cubicBezTo>
                    <a:cubicBezTo>
                      <a:pt x="0" y="379"/>
                      <a:pt x="206" y="832"/>
                      <a:pt x="473" y="1408"/>
                    </a:cubicBezTo>
                    <a:cubicBezTo>
                      <a:pt x="686" y="1851"/>
                      <a:pt x="873" y="2228"/>
                      <a:pt x="1231" y="2228"/>
                    </a:cubicBezTo>
                    <a:cubicBezTo>
                      <a:pt x="1322" y="2228"/>
                      <a:pt x="1425" y="2203"/>
                      <a:pt x="1543" y="2149"/>
                    </a:cubicBezTo>
                    <a:cubicBezTo>
                      <a:pt x="2099" y="1882"/>
                      <a:pt x="2324" y="1202"/>
                      <a:pt x="2058" y="648"/>
                    </a:cubicBezTo>
                    <a:cubicBezTo>
                      <a:pt x="1865" y="234"/>
                      <a:pt x="1462" y="1"/>
                      <a:pt x="10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40"/>
              <p:cNvSpPr/>
              <p:nvPr/>
            </p:nvSpPr>
            <p:spPr>
              <a:xfrm>
                <a:off x="7290640" y="2038027"/>
                <a:ext cx="47513" cy="41194"/>
              </a:xfrm>
              <a:custGeom>
                <a:avLst/>
                <a:gdLst/>
                <a:ahLst/>
                <a:cxnLst/>
                <a:rect l="l" t="t" r="r" b="b"/>
                <a:pathLst>
                  <a:path w="2203" h="1910" extrusionOk="0">
                    <a:moveTo>
                      <a:pt x="186" y="0"/>
                    </a:moveTo>
                    <a:cubicBezTo>
                      <a:pt x="0" y="267"/>
                      <a:pt x="165" y="659"/>
                      <a:pt x="371" y="1090"/>
                    </a:cubicBezTo>
                    <a:cubicBezTo>
                      <a:pt x="584" y="1533"/>
                      <a:pt x="771" y="1910"/>
                      <a:pt x="1129" y="1910"/>
                    </a:cubicBezTo>
                    <a:cubicBezTo>
                      <a:pt x="1220" y="1910"/>
                      <a:pt x="1323" y="1885"/>
                      <a:pt x="1441" y="1831"/>
                    </a:cubicBezTo>
                    <a:cubicBezTo>
                      <a:pt x="1975" y="1564"/>
                      <a:pt x="2203" y="925"/>
                      <a:pt x="1975" y="371"/>
                    </a:cubicBezTo>
                    <a:lnTo>
                      <a:pt x="1975" y="371"/>
                    </a:lnTo>
                    <a:cubicBezTo>
                      <a:pt x="1353" y="703"/>
                      <a:pt x="955" y="850"/>
                      <a:pt x="696" y="850"/>
                    </a:cubicBezTo>
                    <a:cubicBezTo>
                      <a:pt x="314" y="850"/>
                      <a:pt x="236" y="528"/>
                      <a:pt x="18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40"/>
              <p:cNvSpPr/>
              <p:nvPr/>
            </p:nvSpPr>
            <p:spPr>
              <a:xfrm>
                <a:off x="7161537" y="2098869"/>
                <a:ext cx="52819" cy="50403"/>
              </a:xfrm>
              <a:custGeom>
                <a:avLst/>
                <a:gdLst/>
                <a:ahLst/>
                <a:cxnLst/>
                <a:rect l="l" t="t" r="r" b="b"/>
                <a:pathLst>
                  <a:path w="2449" h="2337" extrusionOk="0">
                    <a:moveTo>
                      <a:pt x="1107" y="0"/>
                    </a:moveTo>
                    <a:cubicBezTo>
                      <a:pt x="934" y="0"/>
                      <a:pt x="760" y="39"/>
                      <a:pt x="597" y="120"/>
                    </a:cubicBezTo>
                    <a:cubicBezTo>
                      <a:pt x="1" y="408"/>
                      <a:pt x="226" y="882"/>
                      <a:pt x="494" y="1478"/>
                    </a:cubicBezTo>
                    <a:cubicBezTo>
                      <a:pt x="726" y="1940"/>
                      <a:pt x="930" y="2337"/>
                      <a:pt x="1300" y="2337"/>
                    </a:cubicBezTo>
                    <a:cubicBezTo>
                      <a:pt x="1391" y="2337"/>
                      <a:pt x="1492" y="2313"/>
                      <a:pt x="1605" y="2260"/>
                    </a:cubicBezTo>
                    <a:cubicBezTo>
                      <a:pt x="2201" y="1972"/>
                      <a:pt x="2448" y="1272"/>
                      <a:pt x="2160" y="677"/>
                    </a:cubicBezTo>
                    <a:cubicBezTo>
                      <a:pt x="1969" y="248"/>
                      <a:pt x="1544" y="0"/>
                      <a:pt x="110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40"/>
              <p:cNvSpPr/>
              <p:nvPr/>
            </p:nvSpPr>
            <p:spPr>
              <a:xfrm>
                <a:off x="7163737" y="2105512"/>
                <a:ext cx="50188" cy="48246"/>
              </a:xfrm>
              <a:custGeom>
                <a:avLst/>
                <a:gdLst/>
                <a:ahLst/>
                <a:cxnLst/>
                <a:rect l="l" t="t" r="r" b="b"/>
                <a:pathLst>
                  <a:path w="2327" h="2237" extrusionOk="0">
                    <a:moveTo>
                      <a:pt x="1052" y="1"/>
                    </a:moveTo>
                    <a:cubicBezTo>
                      <a:pt x="885" y="1"/>
                      <a:pt x="716" y="39"/>
                      <a:pt x="557" y="122"/>
                    </a:cubicBezTo>
                    <a:cubicBezTo>
                      <a:pt x="1" y="388"/>
                      <a:pt x="207" y="841"/>
                      <a:pt x="475" y="1397"/>
                    </a:cubicBezTo>
                    <a:cubicBezTo>
                      <a:pt x="687" y="1856"/>
                      <a:pt x="875" y="2237"/>
                      <a:pt x="1223" y="2237"/>
                    </a:cubicBezTo>
                    <a:cubicBezTo>
                      <a:pt x="1311" y="2237"/>
                      <a:pt x="1410" y="2212"/>
                      <a:pt x="1523" y="2158"/>
                    </a:cubicBezTo>
                    <a:cubicBezTo>
                      <a:pt x="2099" y="1870"/>
                      <a:pt x="2326" y="1211"/>
                      <a:pt x="2058" y="635"/>
                    </a:cubicBezTo>
                    <a:cubicBezTo>
                      <a:pt x="1868" y="240"/>
                      <a:pt x="1467" y="1"/>
                      <a:pt x="10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40"/>
              <p:cNvSpPr/>
              <p:nvPr/>
            </p:nvSpPr>
            <p:spPr>
              <a:xfrm>
                <a:off x="7165980" y="2112564"/>
                <a:ext cx="47470" cy="41194"/>
              </a:xfrm>
              <a:custGeom>
                <a:avLst/>
                <a:gdLst/>
                <a:ahLst/>
                <a:cxnLst/>
                <a:rect l="l" t="t" r="r" b="b"/>
                <a:pathLst>
                  <a:path w="2201" h="1910" extrusionOk="0">
                    <a:moveTo>
                      <a:pt x="185" y="1"/>
                    </a:moveTo>
                    <a:cubicBezTo>
                      <a:pt x="0" y="267"/>
                      <a:pt x="165" y="637"/>
                      <a:pt x="371" y="1070"/>
                    </a:cubicBezTo>
                    <a:cubicBezTo>
                      <a:pt x="583" y="1529"/>
                      <a:pt x="771" y="1910"/>
                      <a:pt x="1119" y="1910"/>
                    </a:cubicBezTo>
                    <a:cubicBezTo>
                      <a:pt x="1207" y="1910"/>
                      <a:pt x="1306" y="1885"/>
                      <a:pt x="1419" y="1831"/>
                    </a:cubicBezTo>
                    <a:cubicBezTo>
                      <a:pt x="1975" y="1564"/>
                      <a:pt x="2201" y="925"/>
                      <a:pt x="1975" y="371"/>
                    </a:cubicBezTo>
                    <a:lnTo>
                      <a:pt x="1975" y="371"/>
                    </a:lnTo>
                    <a:cubicBezTo>
                      <a:pt x="1350" y="695"/>
                      <a:pt x="951" y="841"/>
                      <a:pt x="692" y="841"/>
                    </a:cubicBezTo>
                    <a:cubicBezTo>
                      <a:pt x="312" y="841"/>
                      <a:pt x="234" y="526"/>
                      <a:pt x="18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40"/>
              <p:cNvSpPr/>
              <p:nvPr/>
            </p:nvSpPr>
            <p:spPr>
              <a:xfrm>
                <a:off x="7496977" y="1894150"/>
                <a:ext cx="52366" cy="50188"/>
              </a:xfrm>
              <a:custGeom>
                <a:avLst/>
                <a:gdLst/>
                <a:ahLst/>
                <a:cxnLst/>
                <a:rect l="l" t="t" r="r" b="b"/>
                <a:pathLst>
                  <a:path w="2428" h="2327" extrusionOk="0">
                    <a:moveTo>
                      <a:pt x="1077" y="1"/>
                    </a:moveTo>
                    <a:cubicBezTo>
                      <a:pt x="909" y="1"/>
                      <a:pt x="739" y="35"/>
                      <a:pt x="576" y="108"/>
                    </a:cubicBezTo>
                    <a:cubicBezTo>
                      <a:pt x="0" y="396"/>
                      <a:pt x="206" y="870"/>
                      <a:pt x="494" y="1466"/>
                    </a:cubicBezTo>
                    <a:cubicBezTo>
                      <a:pt x="707" y="1942"/>
                      <a:pt x="907" y="2327"/>
                      <a:pt x="1282" y="2327"/>
                    </a:cubicBezTo>
                    <a:cubicBezTo>
                      <a:pt x="1377" y="2327"/>
                      <a:pt x="1484" y="2302"/>
                      <a:pt x="1605" y="2248"/>
                    </a:cubicBezTo>
                    <a:cubicBezTo>
                      <a:pt x="2181" y="1960"/>
                      <a:pt x="2428" y="1260"/>
                      <a:pt x="2160" y="664"/>
                    </a:cubicBezTo>
                    <a:cubicBezTo>
                      <a:pt x="1950" y="246"/>
                      <a:pt x="1523" y="1"/>
                      <a:pt x="10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40"/>
              <p:cNvSpPr/>
              <p:nvPr/>
            </p:nvSpPr>
            <p:spPr>
              <a:xfrm>
                <a:off x="7498745" y="1900728"/>
                <a:ext cx="50597" cy="48052"/>
              </a:xfrm>
              <a:custGeom>
                <a:avLst/>
                <a:gdLst/>
                <a:ahLst/>
                <a:cxnLst/>
                <a:rect l="l" t="t" r="r" b="b"/>
                <a:pathLst>
                  <a:path w="2346" h="2228" extrusionOk="0">
                    <a:moveTo>
                      <a:pt x="1053" y="0"/>
                    </a:moveTo>
                    <a:cubicBezTo>
                      <a:pt x="887" y="0"/>
                      <a:pt x="718" y="37"/>
                      <a:pt x="555" y="112"/>
                    </a:cubicBezTo>
                    <a:cubicBezTo>
                      <a:pt x="1" y="379"/>
                      <a:pt x="206" y="832"/>
                      <a:pt x="473" y="1408"/>
                    </a:cubicBezTo>
                    <a:cubicBezTo>
                      <a:pt x="687" y="1851"/>
                      <a:pt x="873" y="2228"/>
                      <a:pt x="1231" y="2228"/>
                    </a:cubicBezTo>
                    <a:cubicBezTo>
                      <a:pt x="1322" y="2228"/>
                      <a:pt x="1425" y="2203"/>
                      <a:pt x="1543" y="2148"/>
                    </a:cubicBezTo>
                    <a:cubicBezTo>
                      <a:pt x="2099" y="1882"/>
                      <a:pt x="2346" y="1202"/>
                      <a:pt x="2078" y="647"/>
                    </a:cubicBezTo>
                    <a:cubicBezTo>
                      <a:pt x="1871" y="234"/>
                      <a:pt x="1474"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40"/>
              <p:cNvSpPr/>
              <p:nvPr/>
            </p:nvSpPr>
            <p:spPr>
              <a:xfrm>
                <a:off x="7500945" y="1907587"/>
                <a:ext cx="47513" cy="41194"/>
              </a:xfrm>
              <a:custGeom>
                <a:avLst/>
                <a:gdLst/>
                <a:ahLst/>
                <a:cxnLst/>
                <a:rect l="l" t="t" r="r" b="b"/>
                <a:pathLst>
                  <a:path w="2203" h="1910" extrusionOk="0">
                    <a:moveTo>
                      <a:pt x="206" y="0"/>
                    </a:moveTo>
                    <a:lnTo>
                      <a:pt x="206" y="0"/>
                    </a:lnTo>
                    <a:cubicBezTo>
                      <a:pt x="1" y="267"/>
                      <a:pt x="165" y="659"/>
                      <a:pt x="371" y="1090"/>
                    </a:cubicBezTo>
                    <a:cubicBezTo>
                      <a:pt x="585" y="1533"/>
                      <a:pt x="771" y="1910"/>
                      <a:pt x="1129" y="1910"/>
                    </a:cubicBezTo>
                    <a:cubicBezTo>
                      <a:pt x="1220" y="1910"/>
                      <a:pt x="1323" y="1885"/>
                      <a:pt x="1441" y="1830"/>
                    </a:cubicBezTo>
                    <a:cubicBezTo>
                      <a:pt x="1976" y="1564"/>
                      <a:pt x="2203" y="925"/>
                      <a:pt x="1976" y="370"/>
                    </a:cubicBezTo>
                    <a:lnTo>
                      <a:pt x="1976" y="370"/>
                    </a:lnTo>
                    <a:cubicBezTo>
                      <a:pt x="1353" y="703"/>
                      <a:pt x="955" y="850"/>
                      <a:pt x="698" y="850"/>
                    </a:cubicBezTo>
                    <a:cubicBezTo>
                      <a:pt x="317" y="850"/>
                      <a:pt x="244" y="52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40"/>
              <p:cNvSpPr/>
              <p:nvPr/>
            </p:nvSpPr>
            <p:spPr>
              <a:xfrm>
                <a:off x="6922828" y="2236319"/>
                <a:ext cx="51935" cy="50058"/>
              </a:xfrm>
              <a:custGeom>
                <a:avLst/>
                <a:gdLst/>
                <a:ahLst/>
                <a:cxnLst/>
                <a:rect l="l" t="t" r="r" b="b"/>
                <a:pathLst>
                  <a:path w="2408" h="2321" extrusionOk="0">
                    <a:moveTo>
                      <a:pt x="1060" y="1"/>
                    </a:moveTo>
                    <a:cubicBezTo>
                      <a:pt x="898" y="1"/>
                      <a:pt x="734" y="34"/>
                      <a:pt x="577" y="105"/>
                    </a:cubicBezTo>
                    <a:cubicBezTo>
                      <a:pt x="1" y="372"/>
                      <a:pt x="185" y="865"/>
                      <a:pt x="453" y="1441"/>
                    </a:cubicBezTo>
                    <a:cubicBezTo>
                      <a:pt x="668" y="1922"/>
                      <a:pt x="869" y="2321"/>
                      <a:pt x="1239" y="2321"/>
                    </a:cubicBezTo>
                    <a:cubicBezTo>
                      <a:pt x="1329" y="2321"/>
                      <a:pt x="1430" y="2297"/>
                      <a:pt x="1543" y="2245"/>
                    </a:cubicBezTo>
                    <a:cubicBezTo>
                      <a:pt x="2140" y="1976"/>
                      <a:pt x="2407" y="1298"/>
                      <a:pt x="2140" y="701"/>
                    </a:cubicBezTo>
                    <a:cubicBezTo>
                      <a:pt x="1943" y="262"/>
                      <a:pt x="1511" y="1"/>
                      <a:pt x="10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40"/>
              <p:cNvSpPr/>
              <p:nvPr/>
            </p:nvSpPr>
            <p:spPr>
              <a:xfrm>
                <a:off x="6924618" y="2242724"/>
                <a:ext cx="49713" cy="48354"/>
              </a:xfrm>
              <a:custGeom>
                <a:avLst/>
                <a:gdLst/>
                <a:ahLst/>
                <a:cxnLst/>
                <a:rect l="l" t="t" r="r" b="b"/>
                <a:pathLst>
                  <a:path w="2305" h="2242" extrusionOk="0">
                    <a:moveTo>
                      <a:pt x="1015" y="1"/>
                    </a:moveTo>
                    <a:cubicBezTo>
                      <a:pt x="862" y="1"/>
                      <a:pt x="705" y="32"/>
                      <a:pt x="555" y="96"/>
                    </a:cubicBezTo>
                    <a:cubicBezTo>
                      <a:pt x="0" y="363"/>
                      <a:pt x="185" y="837"/>
                      <a:pt x="431" y="1391"/>
                    </a:cubicBezTo>
                    <a:cubicBezTo>
                      <a:pt x="648" y="1857"/>
                      <a:pt x="837" y="2242"/>
                      <a:pt x="1195" y="2242"/>
                    </a:cubicBezTo>
                    <a:cubicBezTo>
                      <a:pt x="1280" y="2242"/>
                      <a:pt x="1375" y="2220"/>
                      <a:pt x="1481" y="2173"/>
                    </a:cubicBezTo>
                    <a:cubicBezTo>
                      <a:pt x="2057" y="1906"/>
                      <a:pt x="2304" y="1248"/>
                      <a:pt x="2057" y="672"/>
                    </a:cubicBezTo>
                    <a:cubicBezTo>
                      <a:pt x="1859" y="247"/>
                      <a:pt x="1448"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40"/>
              <p:cNvSpPr/>
              <p:nvPr/>
            </p:nvSpPr>
            <p:spPr>
              <a:xfrm>
                <a:off x="6926818" y="2249216"/>
                <a:ext cx="47039" cy="41863"/>
              </a:xfrm>
              <a:custGeom>
                <a:avLst/>
                <a:gdLst/>
                <a:ahLst/>
                <a:cxnLst/>
                <a:rect l="l" t="t" r="r" b="b"/>
                <a:pathLst>
                  <a:path w="2181" h="1941" extrusionOk="0">
                    <a:moveTo>
                      <a:pt x="186" y="1"/>
                    </a:moveTo>
                    <a:cubicBezTo>
                      <a:pt x="0" y="267"/>
                      <a:pt x="145" y="659"/>
                      <a:pt x="329" y="1090"/>
                    </a:cubicBezTo>
                    <a:cubicBezTo>
                      <a:pt x="546" y="1556"/>
                      <a:pt x="735" y="1941"/>
                      <a:pt x="1093" y="1941"/>
                    </a:cubicBezTo>
                    <a:cubicBezTo>
                      <a:pt x="1178" y="1941"/>
                      <a:pt x="1273" y="1919"/>
                      <a:pt x="1379" y="1872"/>
                    </a:cubicBezTo>
                    <a:cubicBezTo>
                      <a:pt x="1934" y="1625"/>
                      <a:pt x="2181" y="988"/>
                      <a:pt x="1955" y="432"/>
                    </a:cubicBezTo>
                    <a:lnTo>
                      <a:pt x="1955" y="432"/>
                    </a:lnTo>
                    <a:cubicBezTo>
                      <a:pt x="1344" y="730"/>
                      <a:pt x="949" y="864"/>
                      <a:pt x="692" y="864"/>
                    </a:cubicBezTo>
                    <a:cubicBezTo>
                      <a:pt x="291" y="864"/>
                      <a:pt x="223" y="539"/>
                      <a:pt x="1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40"/>
              <p:cNvSpPr/>
              <p:nvPr/>
            </p:nvSpPr>
            <p:spPr>
              <a:xfrm>
                <a:off x="6813222" y="2299770"/>
                <a:ext cx="52387" cy="50058"/>
              </a:xfrm>
              <a:custGeom>
                <a:avLst/>
                <a:gdLst/>
                <a:ahLst/>
                <a:cxnLst/>
                <a:rect l="l" t="t" r="r" b="b"/>
                <a:pathLst>
                  <a:path w="2429" h="2321" extrusionOk="0">
                    <a:moveTo>
                      <a:pt x="1080" y="1"/>
                    </a:moveTo>
                    <a:cubicBezTo>
                      <a:pt x="919" y="1"/>
                      <a:pt x="755" y="34"/>
                      <a:pt x="598" y="104"/>
                    </a:cubicBezTo>
                    <a:cubicBezTo>
                      <a:pt x="1" y="372"/>
                      <a:pt x="206" y="845"/>
                      <a:pt x="475" y="1442"/>
                    </a:cubicBezTo>
                    <a:cubicBezTo>
                      <a:pt x="689" y="1921"/>
                      <a:pt x="877" y="2320"/>
                      <a:pt x="1252" y="2320"/>
                    </a:cubicBezTo>
                    <a:cubicBezTo>
                      <a:pt x="1344" y="2320"/>
                      <a:pt x="1447" y="2296"/>
                      <a:pt x="1564" y="2244"/>
                    </a:cubicBezTo>
                    <a:cubicBezTo>
                      <a:pt x="2162" y="1977"/>
                      <a:pt x="2428" y="1278"/>
                      <a:pt x="2162" y="701"/>
                    </a:cubicBezTo>
                    <a:cubicBezTo>
                      <a:pt x="1964" y="261"/>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40"/>
              <p:cNvSpPr/>
              <p:nvPr/>
            </p:nvSpPr>
            <p:spPr>
              <a:xfrm>
                <a:off x="6815012" y="2306154"/>
                <a:ext cx="50166" cy="48160"/>
              </a:xfrm>
              <a:custGeom>
                <a:avLst/>
                <a:gdLst/>
                <a:ahLst/>
                <a:cxnLst/>
                <a:rect l="l" t="t" r="r" b="b"/>
                <a:pathLst>
                  <a:path w="2326" h="2233" extrusionOk="0">
                    <a:moveTo>
                      <a:pt x="1027" y="1"/>
                    </a:moveTo>
                    <a:cubicBezTo>
                      <a:pt x="875" y="1"/>
                      <a:pt x="721" y="32"/>
                      <a:pt x="576" y="96"/>
                    </a:cubicBezTo>
                    <a:cubicBezTo>
                      <a:pt x="0" y="364"/>
                      <a:pt x="186" y="817"/>
                      <a:pt x="453" y="1393"/>
                    </a:cubicBezTo>
                    <a:cubicBezTo>
                      <a:pt x="649" y="1852"/>
                      <a:pt x="833" y="2233"/>
                      <a:pt x="1192" y="2233"/>
                    </a:cubicBezTo>
                    <a:cubicBezTo>
                      <a:pt x="1283" y="2233"/>
                      <a:pt x="1386" y="2208"/>
                      <a:pt x="1503" y="2153"/>
                    </a:cubicBezTo>
                    <a:cubicBezTo>
                      <a:pt x="2057" y="1906"/>
                      <a:pt x="2325" y="1248"/>
                      <a:pt x="2057" y="672"/>
                    </a:cubicBezTo>
                    <a:cubicBezTo>
                      <a:pt x="1875" y="247"/>
                      <a:pt x="1457" y="1"/>
                      <a:pt x="102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40"/>
              <p:cNvSpPr/>
              <p:nvPr/>
            </p:nvSpPr>
            <p:spPr>
              <a:xfrm>
                <a:off x="6817234" y="2312646"/>
                <a:ext cx="47060" cy="41668"/>
              </a:xfrm>
              <a:custGeom>
                <a:avLst/>
                <a:gdLst/>
                <a:ahLst/>
                <a:cxnLst/>
                <a:rect l="l" t="t" r="r" b="b"/>
                <a:pathLst>
                  <a:path w="2182" h="1932" extrusionOk="0">
                    <a:moveTo>
                      <a:pt x="206" y="1"/>
                    </a:moveTo>
                    <a:cubicBezTo>
                      <a:pt x="1" y="269"/>
                      <a:pt x="144" y="659"/>
                      <a:pt x="350" y="1092"/>
                    </a:cubicBezTo>
                    <a:cubicBezTo>
                      <a:pt x="546" y="1551"/>
                      <a:pt x="730" y="1932"/>
                      <a:pt x="1089" y="1932"/>
                    </a:cubicBezTo>
                    <a:cubicBezTo>
                      <a:pt x="1180" y="1932"/>
                      <a:pt x="1283" y="1907"/>
                      <a:pt x="1400" y="1852"/>
                    </a:cubicBezTo>
                    <a:cubicBezTo>
                      <a:pt x="1934" y="1605"/>
                      <a:pt x="2181" y="988"/>
                      <a:pt x="1976" y="434"/>
                    </a:cubicBezTo>
                    <a:lnTo>
                      <a:pt x="1976" y="434"/>
                    </a:lnTo>
                    <a:cubicBezTo>
                      <a:pt x="1364" y="731"/>
                      <a:pt x="967" y="865"/>
                      <a:pt x="707" y="865"/>
                    </a:cubicBezTo>
                    <a:cubicBezTo>
                      <a:pt x="302" y="865"/>
                      <a:pt x="231" y="540"/>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40"/>
              <p:cNvSpPr/>
              <p:nvPr/>
            </p:nvSpPr>
            <p:spPr>
              <a:xfrm>
                <a:off x="6686794" y="2370770"/>
                <a:ext cx="51913" cy="50490"/>
              </a:xfrm>
              <a:custGeom>
                <a:avLst/>
                <a:gdLst/>
                <a:ahLst/>
                <a:cxnLst/>
                <a:rect l="l" t="t" r="r" b="b"/>
                <a:pathLst>
                  <a:path w="2407" h="2341" extrusionOk="0">
                    <a:moveTo>
                      <a:pt x="1059" y="0"/>
                    </a:moveTo>
                    <a:cubicBezTo>
                      <a:pt x="897" y="0"/>
                      <a:pt x="733" y="33"/>
                      <a:pt x="576" y="104"/>
                    </a:cubicBezTo>
                    <a:cubicBezTo>
                      <a:pt x="0" y="372"/>
                      <a:pt x="185" y="866"/>
                      <a:pt x="453" y="1461"/>
                    </a:cubicBezTo>
                    <a:cubicBezTo>
                      <a:pt x="667" y="1941"/>
                      <a:pt x="869" y="2341"/>
                      <a:pt x="1239" y="2341"/>
                    </a:cubicBezTo>
                    <a:cubicBezTo>
                      <a:pt x="1329" y="2341"/>
                      <a:pt x="1429" y="2317"/>
                      <a:pt x="1543" y="2265"/>
                    </a:cubicBezTo>
                    <a:cubicBezTo>
                      <a:pt x="2140" y="1996"/>
                      <a:pt x="2407" y="1297"/>
                      <a:pt x="2140" y="701"/>
                    </a:cubicBezTo>
                    <a:cubicBezTo>
                      <a:pt x="1942" y="261"/>
                      <a:pt x="1511" y="0"/>
                      <a:pt x="105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40"/>
              <p:cNvSpPr/>
              <p:nvPr/>
            </p:nvSpPr>
            <p:spPr>
              <a:xfrm>
                <a:off x="6688562" y="2377607"/>
                <a:ext cx="49713" cy="48139"/>
              </a:xfrm>
              <a:custGeom>
                <a:avLst/>
                <a:gdLst/>
                <a:ahLst/>
                <a:cxnLst/>
                <a:rect l="l" t="t" r="r" b="b"/>
                <a:pathLst>
                  <a:path w="2305" h="2232" extrusionOk="0">
                    <a:moveTo>
                      <a:pt x="1015" y="1"/>
                    </a:moveTo>
                    <a:cubicBezTo>
                      <a:pt x="862" y="1"/>
                      <a:pt x="706" y="32"/>
                      <a:pt x="555" y="96"/>
                    </a:cubicBezTo>
                    <a:cubicBezTo>
                      <a:pt x="1" y="343"/>
                      <a:pt x="185" y="815"/>
                      <a:pt x="432" y="1391"/>
                    </a:cubicBezTo>
                    <a:cubicBezTo>
                      <a:pt x="646" y="1851"/>
                      <a:pt x="833" y="2232"/>
                      <a:pt x="1182" y="2232"/>
                    </a:cubicBezTo>
                    <a:cubicBezTo>
                      <a:pt x="1270" y="2232"/>
                      <a:pt x="1369" y="2207"/>
                      <a:pt x="1482" y="2153"/>
                    </a:cubicBezTo>
                    <a:cubicBezTo>
                      <a:pt x="2058" y="1906"/>
                      <a:pt x="2305" y="1227"/>
                      <a:pt x="2058" y="672"/>
                    </a:cubicBezTo>
                    <a:cubicBezTo>
                      <a:pt x="1860" y="247"/>
                      <a:pt x="1449" y="1"/>
                      <a:pt x="101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40"/>
              <p:cNvSpPr/>
              <p:nvPr/>
            </p:nvSpPr>
            <p:spPr>
              <a:xfrm>
                <a:off x="6690762" y="2384099"/>
                <a:ext cx="47060" cy="41647"/>
              </a:xfrm>
              <a:custGeom>
                <a:avLst/>
                <a:gdLst/>
                <a:ahLst/>
                <a:cxnLst/>
                <a:rect l="l" t="t" r="r" b="b"/>
                <a:pathLst>
                  <a:path w="2182" h="1931" extrusionOk="0">
                    <a:moveTo>
                      <a:pt x="187" y="1"/>
                    </a:moveTo>
                    <a:cubicBezTo>
                      <a:pt x="1" y="267"/>
                      <a:pt x="146" y="638"/>
                      <a:pt x="330" y="1090"/>
                    </a:cubicBezTo>
                    <a:cubicBezTo>
                      <a:pt x="544" y="1550"/>
                      <a:pt x="731" y="1931"/>
                      <a:pt x="1080" y="1931"/>
                    </a:cubicBezTo>
                    <a:cubicBezTo>
                      <a:pt x="1168" y="1931"/>
                      <a:pt x="1267" y="1906"/>
                      <a:pt x="1380" y="1852"/>
                    </a:cubicBezTo>
                    <a:cubicBezTo>
                      <a:pt x="1935" y="1605"/>
                      <a:pt x="2181" y="967"/>
                      <a:pt x="1956" y="412"/>
                    </a:cubicBezTo>
                    <a:lnTo>
                      <a:pt x="1956" y="412"/>
                    </a:lnTo>
                    <a:cubicBezTo>
                      <a:pt x="1338" y="721"/>
                      <a:pt x="942" y="860"/>
                      <a:pt x="685" y="860"/>
                    </a:cubicBezTo>
                    <a:cubicBezTo>
                      <a:pt x="291" y="860"/>
                      <a:pt x="224" y="535"/>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40"/>
              <p:cNvSpPr/>
              <p:nvPr/>
            </p:nvSpPr>
            <p:spPr>
              <a:xfrm>
                <a:off x="7026654" y="2174571"/>
                <a:ext cx="52387" cy="50144"/>
              </a:xfrm>
              <a:custGeom>
                <a:avLst/>
                <a:gdLst/>
                <a:ahLst/>
                <a:cxnLst/>
                <a:rect l="l" t="t" r="r" b="b"/>
                <a:pathLst>
                  <a:path w="2429" h="2325" extrusionOk="0">
                    <a:moveTo>
                      <a:pt x="1095" y="1"/>
                    </a:moveTo>
                    <a:cubicBezTo>
                      <a:pt x="928" y="1"/>
                      <a:pt x="759" y="35"/>
                      <a:pt x="597" y="108"/>
                    </a:cubicBezTo>
                    <a:cubicBezTo>
                      <a:pt x="1" y="376"/>
                      <a:pt x="207" y="848"/>
                      <a:pt x="473" y="1446"/>
                    </a:cubicBezTo>
                    <a:cubicBezTo>
                      <a:pt x="689" y="1924"/>
                      <a:pt x="876" y="2324"/>
                      <a:pt x="1251" y="2324"/>
                    </a:cubicBezTo>
                    <a:cubicBezTo>
                      <a:pt x="1343" y="2324"/>
                      <a:pt x="1447" y="2300"/>
                      <a:pt x="1564" y="2247"/>
                    </a:cubicBezTo>
                    <a:cubicBezTo>
                      <a:pt x="2160" y="1981"/>
                      <a:pt x="2428" y="1281"/>
                      <a:pt x="2160" y="684"/>
                    </a:cubicBezTo>
                    <a:cubicBezTo>
                      <a:pt x="1966" y="250"/>
                      <a:pt x="1542" y="1"/>
                      <a:pt x="109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40"/>
              <p:cNvSpPr/>
              <p:nvPr/>
            </p:nvSpPr>
            <p:spPr>
              <a:xfrm>
                <a:off x="7028444" y="2181041"/>
                <a:ext cx="50123" cy="48160"/>
              </a:xfrm>
              <a:custGeom>
                <a:avLst/>
                <a:gdLst/>
                <a:ahLst/>
                <a:cxnLst/>
                <a:rect l="l" t="t" r="r" b="b"/>
                <a:pathLst>
                  <a:path w="2324" h="2233" extrusionOk="0">
                    <a:moveTo>
                      <a:pt x="1036" y="0"/>
                    </a:moveTo>
                    <a:cubicBezTo>
                      <a:pt x="883" y="0"/>
                      <a:pt x="727" y="31"/>
                      <a:pt x="576" y="96"/>
                    </a:cubicBezTo>
                    <a:cubicBezTo>
                      <a:pt x="0" y="364"/>
                      <a:pt x="206" y="817"/>
                      <a:pt x="453" y="1393"/>
                    </a:cubicBezTo>
                    <a:cubicBezTo>
                      <a:pt x="665" y="1852"/>
                      <a:pt x="839" y="2232"/>
                      <a:pt x="1192" y="2232"/>
                    </a:cubicBezTo>
                    <a:cubicBezTo>
                      <a:pt x="1282" y="2232"/>
                      <a:pt x="1384" y="2207"/>
                      <a:pt x="1501" y="2153"/>
                    </a:cubicBezTo>
                    <a:cubicBezTo>
                      <a:pt x="2077" y="1906"/>
                      <a:pt x="2324" y="1228"/>
                      <a:pt x="2057" y="672"/>
                    </a:cubicBezTo>
                    <a:cubicBezTo>
                      <a:pt x="1875" y="246"/>
                      <a:pt x="1468" y="0"/>
                      <a:pt x="103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40"/>
              <p:cNvSpPr/>
              <p:nvPr/>
            </p:nvSpPr>
            <p:spPr>
              <a:xfrm>
                <a:off x="7030644" y="2187533"/>
                <a:ext cx="47513" cy="41668"/>
              </a:xfrm>
              <a:custGeom>
                <a:avLst/>
                <a:gdLst/>
                <a:ahLst/>
                <a:cxnLst/>
                <a:rect l="l" t="t" r="r" b="b"/>
                <a:pathLst>
                  <a:path w="2203" h="1932" extrusionOk="0">
                    <a:moveTo>
                      <a:pt x="206" y="0"/>
                    </a:moveTo>
                    <a:lnTo>
                      <a:pt x="206" y="0"/>
                    </a:lnTo>
                    <a:cubicBezTo>
                      <a:pt x="0" y="269"/>
                      <a:pt x="145" y="659"/>
                      <a:pt x="351" y="1092"/>
                    </a:cubicBezTo>
                    <a:cubicBezTo>
                      <a:pt x="563" y="1551"/>
                      <a:pt x="737" y="1931"/>
                      <a:pt x="1090" y="1931"/>
                    </a:cubicBezTo>
                    <a:cubicBezTo>
                      <a:pt x="1180" y="1931"/>
                      <a:pt x="1282" y="1906"/>
                      <a:pt x="1399" y="1852"/>
                    </a:cubicBezTo>
                    <a:cubicBezTo>
                      <a:pt x="1955" y="1605"/>
                      <a:pt x="2202" y="968"/>
                      <a:pt x="1975" y="412"/>
                    </a:cubicBezTo>
                    <a:lnTo>
                      <a:pt x="1975" y="412"/>
                    </a:lnTo>
                    <a:cubicBezTo>
                      <a:pt x="1357" y="721"/>
                      <a:pt x="957" y="860"/>
                      <a:pt x="698" y="860"/>
                    </a:cubicBezTo>
                    <a:cubicBezTo>
                      <a:pt x="301" y="860"/>
                      <a:pt x="231" y="536"/>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40"/>
              <p:cNvSpPr/>
              <p:nvPr/>
            </p:nvSpPr>
            <p:spPr>
              <a:xfrm>
                <a:off x="6411700" y="2510981"/>
                <a:ext cx="52387" cy="50295"/>
              </a:xfrm>
              <a:custGeom>
                <a:avLst/>
                <a:gdLst/>
                <a:ahLst/>
                <a:cxnLst/>
                <a:rect l="l" t="t" r="r" b="b"/>
                <a:pathLst>
                  <a:path w="2429" h="2332" extrusionOk="0">
                    <a:moveTo>
                      <a:pt x="1088" y="0"/>
                    </a:moveTo>
                    <a:cubicBezTo>
                      <a:pt x="926" y="0"/>
                      <a:pt x="759" y="33"/>
                      <a:pt x="596" y="103"/>
                    </a:cubicBezTo>
                    <a:cubicBezTo>
                      <a:pt x="1" y="350"/>
                      <a:pt x="206" y="844"/>
                      <a:pt x="473" y="1441"/>
                    </a:cubicBezTo>
                    <a:cubicBezTo>
                      <a:pt x="691" y="1927"/>
                      <a:pt x="868" y="2331"/>
                      <a:pt x="1260" y="2331"/>
                    </a:cubicBezTo>
                    <a:cubicBezTo>
                      <a:pt x="1349" y="2331"/>
                      <a:pt x="1450" y="2310"/>
                      <a:pt x="1564" y="2264"/>
                    </a:cubicBezTo>
                    <a:cubicBezTo>
                      <a:pt x="2160" y="1996"/>
                      <a:pt x="2428" y="1297"/>
                      <a:pt x="2160" y="701"/>
                    </a:cubicBezTo>
                    <a:cubicBezTo>
                      <a:pt x="1963" y="261"/>
                      <a:pt x="1543" y="0"/>
                      <a:pt x="10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40"/>
              <p:cNvSpPr/>
              <p:nvPr/>
            </p:nvSpPr>
            <p:spPr>
              <a:xfrm>
                <a:off x="6413469" y="2517429"/>
                <a:ext cx="50144" cy="48311"/>
              </a:xfrm>
              <a:custGeom>
                <a:avLst/>
                <a:gdLst/>
                <a:ahLst/>
                <a:cxnLst/>
                <a:rect l="l" t="t" r="r" b="b"/>
                <a:pathLst>
                  <a:path w="2325" h="2240" extrusionOk="0">
                    <a:moveTo>
                      <a:pt x="1024" y="0"/>
                    </a:moveTo>
                    <a:cubicBezTo>
                      <a:pt x="875" y="0"/>
                      <a:pt x="723" y="30"/>
                      <a:pt x="577" y="92"/>
                    </a:cubicBezTo>
                    <a:cubicBezTo>
                      <a:pt x="1" y="339"/>
                      <a:pt x="207" y="813"/>
                      <a:pt x="454" y="1389"/>
                    </a:cubicBezTo>
                    <a:cubicBezTo>
                      <a:pt x="653" y="1855"/>
                      <a:pt x="826" y="2240"/>
                      <a:pt x="1189" y="2240"/>
                    </a:cubicBezTo>
                    <a:cubicBezTo>
                      <a:pt x="1275" y="2240"/>
                      <a:pt x="1372" y="2218"/>
                      <a:pt x="1482" y="2171"/>
                    </a:cubicBezTo>
                    <a:cubicBezTo>
                      <a:pt x="2058" y="1924"/>
                      <a:pt x="2325" y="1245"/>
                      <a:pt x="2078" y="668"/>
                    </a:cubicBezTo>
                    <a:cubicBezTo>
                      <a:pt x="1879" y="255"/>
                      <a:pt x="1462"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40"/>
              <p:cNvSpPr/>
              <p:nvPr/>
            </p:nvSpPr>
            <p:spPr>
              <a:xfrm>
                <a:off x="6415669" y="2523856"/>
                <a:ext cx="47060" cy="41884"/>
              </a:xfrm>
              <a:custGeom>
                <a:avLst/>
                <a:gdLst/>
                <a:ahLst/>
                <a:cxnLst/>
                <a:rect l="l" t="t" r="r" b="b"/>
                <a:pathLst>
                  <a:path w="2182" h="1942" extrusionOk="0">
                    <a:moveTo>
                      <a:pt x="207" y="0"/>
                    </a:moveTo>
                    <a:lnTo>
                      <a:pt x="207" y="0"/>
                    </a:lnTo>
                    <a:cubicBezTo>
                      <a:pt x="1" y="268"/>
                      <a:pt x="146" y="639"/>
                      <a:pt x="352" y="1091"/>
                    </a:cubicBezTo>
                    <a:cubicBezTo>
                      <a:pt x="551" y="1557"/>
                      <a:pt x="724" y="1942"/>
                      <a:pt x="1087" y="1942"/>
                    </a:cubicBezTo>
                    <a:cubicBezTo>
                      <a:pt x="1173" y="1942"/>
                      <a:pt x="1270" y="1920"/>
                      <a:pt x="1380" y="1873"/>
                    </a:cubicBezTo>
                    <a:cubicBezTo>
                      <a:pt x="1935" y="1626"/>
                      <a:pt x="2182" y="988"/>
                      <a:pt x="1976" y="433"/>
                    </a:cubicBezTo>
                    <a:lnTo>
                      <a:pt x="1976" y="433"/>
                    </a:lnTo>
                    <a:cubicBezTo>
                      <a:pt x="1365" y="730"/>
                      <a:pt x="967" y="864"/>
                      <a:pt x="707" y="864"/>
                    </a:cubicBezTo>
                    <a:cubicBezTo>
                      <a:pt x="303" y="864"/>
                      <a:pt x="232" y="539"/>
                      <a:pt x="2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40"/>
              <p:cNvSpPr/>
              <p:nvPr/>
            </p:nvSpPr>
            <p:spPr>
              <a:xfrm>
                <a:off x="6301663" y="2573160"/>
                <a:ext cx="52387" cy="50425"/>
              </a:xfrm>
              <a:custGeom>
                <a:avLst/>
                <a:gdLst/>
                <a:ahLst/>
                <a:cxnLst/>
                <a:rect l="l" t="t" r="r" b="b"/>
                <a:pathLst>
                  <a:path w="2429" h="2338" extrusionOk="0">
                    <a:moveTo>
                      <a:pt x="1064" y="1"/>
                    </a:moveTo>
                    <a:cubicBezTo>
                      <a:pt x="908" y="1"/>
                      <a:pt x="749" y="33"/>
                      <a:pt x="597" y="101"/>
                    </a:cubicBezTo>
                    <a:cubicBezTo>
                      <a:pt x="1" y="369"/>
                      <a:pt x="206" y="863"/>
                      <a:pt x="473" y="1458"/>
                    </a:cubicBezTo>
                    <a:cubicBezTo>
                      <a:pt x="671" y="1938"/>
                      <a:pt x="857" y="2338"/>
                      <a:pt x="1231" y="2338"/>
                    </a:cubicBezTo>
                    <a:cubicBezTo>
                      <a:pt x="1323" y="2338"/>
                      <a:pt x="1426" y="2314"/>
                      <a:pt x="1543" y="2261"/>
                    </a:cubicBezTo>
                    <a:cubicBezTo>
                      <a:pt x="2140" y="2015"/>
                      <a:pt x="2428" y="1315"/>
                      <a:pt x="2160" y="718"/>
                    </a:cubicBezTo>
                    <a:cubicBezTo>
                      <a:pt x="1961" y="274"/>
                      <a:pt x="1522" y="1"/>
                      <a:pt x="106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40"/>
              <p:cNvSpPr/>
              <p:nvPr/>
            </p:nvSpPr>
            <p:spPr>
              <a:xfrm>
                <a:off x="6303453" y="2579932"/>
                <a:ext cx="50123" cy="47945"/>
              </a:xfrm>
              <a:custGeom>
                <a:avLst/>
                <a:gdLst/>
                <a:ahLst/>
                <a:cxnLst/>
                <a:rect l="l" t="t" r="r" b="b"/>
                <a:pathLst>
                  <a:path w="2324" h="2223" extrusionOk="0">
                    <a:moveTo>
                      <a:pt x="1036" y="1"/>
                    </a:moveTo>
                    <a:cubicBezTo>
                      <a:pt x="883" y="1"/>
                      <a:pt x="727" y="31"/>
                      <a:pt x="576" y="96"/>
                    </a:cubicBezTo>
                    <a:cubicBezTo>
                      <a:pt x="0" y="343"/>
                      <a:pt x="206" y="815"/>
                      <a:pt x="453" y="1371"/>
                    </a:cubicBezTo>
                    <a:cubicBezTo>
                      <a:pt x="652" y="1837"/>
                      <a:pt x="825" y="2222"/>
                      <a:pt x="1188" y="2222"/>
                    </a:cubicBezTo>
                    <a:cubicBezTo>
                      <a:pt x="1274" y="2222"/>
                      <a:pt x="1371" y="2200"/>
                      <a:pt x="1481" y="2153"/>
                    </a:cubicBezTo>
                    <a:cubicBezTo>
                      <a:pt x="2057" y="1906"/>
                      <a:pt x="2324" y="1248"/>
                      <a:pt x="2057" y="672"/>
                    </a:cubicBezTo>
                    <a:cubicBezTo>
                      <a:pt x="1875" y="247"/>
                      <a:pt x="1468" y="1"/>
                      <a:pt x="103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40"/>
              <p:cNvSpPr/>
              <p:nvPr/>
            </p:nvSpPr>
            <p:spPr>
              <a:xfrm>
                <a:off x="6305653" y="2586424"/>
                <a:ext cx="47039" cy="41453"/>
              </a:xfrm>
              <a:custGeom>
                <a:avLst/>
                <a:gdLst/>
                <a:ahLst/>
                <a:cxnLst/>
                <a:rect l="l" t="t" r="r" b="b"/>
                <a:pathLst>
                  <a:path w="2181" h="1922" extrusionOk="0">
                    <a:moveTo>
                      <a:pt x="206" y="1"/>
                    </a:moveTo>
                    <a:cubicBezTo>
                      <a:pt x="0" y="267"/>
                      <a:pt x="145" y="638"/>
                      <a:pt x="351" y="1070"/>
                    </a:cubicBezTo>
                    <a:cubicBezTo>
                      <a:pt x="550" y="1536"/>
                      <a:pt x="723" y="1921"/>
                      <a:pt x="1086" y="1921"/>
                    </a:cubicBezTo>
                    <a:cubicBezTo>
                      <a:pt x="1172" y="1921"/>
                      <a:pt x="1269" y="1899"/>
                      <a:pt x="1379" y="1852"/>
                    </a:cubicBezTo>
                    <a:cubicBezTo>
                      <a:pt x="1934" y="1625"/>
                      <a:pt x="2181" y="988"/>
                      <a:pt x="1975" y="432"/>
                    </a:cubicBezTo>
                    <a:lnTo>
                      <a:pt x="1975" y="432"/>
                    </a:lnTo>
                    <a:cubicBezTo>
                      <a:pt x="1362" y="722"/>
                      <a:pt x="963" y="855"/>
                      <a:pt x="704" y="855"/>
                    </a:cubicBezTo>
                    <a:cubicBezTo>
                      <a:pt x="301" y="855"/>
                      <a:pt x="231" y="538"/>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40"/>
              <p:cNvSpPr/>
              <p:nvPr/>
            </p:nvSpPr>
            <p:spPr>
              <a:xfrm>
                <a:off x="6174781" y="2643276"/>
                <a:ext cx="51913" cy="50425"/>
              </a:xfrm>
              <a:custGeom>
                <a:avLst/>
                <a:gdLst/>
                <a:ahLst/>
                <a:cxnLst/>
                <a:rect l="l" t="t" r="r" b="b"/>
                <a:pathLst>
                  <a:path w="2407" h="2338" extrusionOk="0">
                    <a:moveTo>
                      <a:pt x="1060" y="0"/>
                    </a:moveTo>
                    <a:cubicBezTo>
                      <a:pt x="906" y="0"/>
                      <a:pt x="748" y="32"/>
                      <a:pt x="596" y="100"/>
                    </a:cubicBezTo>
                    <a:cubicBezTo>
                      <a:pt x="0" y="368"/>
                      <a:pt x="184" y="862"/>
                      <a:pt x="453" y="1458"/>
                    </a:cubicBezTo>
                    <a:cubicBezTo>
                      <a:pt x="667" y="1938"/>
                      <a:pt x="856" y="2337"/>
                      <a:pt x="1231" y="2337"/>
                    </a:cubicBezTo>
                    <a:cubicBezTo>
                      <a:pt x="1322" y="2337"/>
                      <a:pt x="1425" y="2313"/>
                      <a:pt x="1542" y="2261"/>
                    </a:cubicBezTo>
                    <a:cubicBezTo>
                      <a:pt x="2140" y="1993"/>
                      <a:pt x="2406" y="1315"/>
                      <a:pt x="2140" y="717"/>
                    </a:cubicBezTo>
                    <a:cubicBezTo>
                      <a:pt x="1940" y="273"/>
                      <a:pt x="1512" y="0"/>
                      <a:pt x="10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40"/>
              <p:cNvSpPr/>
              <p:nvPr/>
            </p:nvSpPr>
            <p:spPr>
              <a:xfrm>
                <a:off x="6176550" y="2650048"/>
                <a:ext cx="49713" cy="47923"/>
              </a:xfrm>
              <a:custGeom>
                <a:avLst/>
                <a:gdLst/>
                <a:ahLst/>
                <a:cxnLst/>
                <a:rect l="l" t="t" r="r" b="b"/>
                <a:pathLst>
                  <a:path w="2305" h="2222" extrusionOk="0">
                    <a:moveTo>
                      <a:pt x="1015" y="0"/>
                    </a:moveTo>
                    <a:cubicBezTo>
                      <a:pt x="862" y="0"/>
                      <a:pt x="706" y="31"/>
                      <a:pt x="555" y="95"/>
                    </a:cubicBezTo>
                    <a:cubicBezTo>
                      <a:pt x="0" y="342"/>
                      <a:pt x="185" y="815"/>
                      <a:pt x="432" y="1371"/>
                    </a:cubicBezTo>
                    <a:cubicBezTo>
                      <a:pt x="631" y="1837"/>
                      <a:pt x="818" y="2222"/>
                      <a:pt x="1175" y="2222"/>
                    </a:cubicBezTo>
                    <a:cubicBezTo>
                      <a:pt x="1260" y="2222"/>
                      <a:pt x="1354" y="2200"/>
                      <a:pt x="1460" y="2153"/>
                    </a:cubicBezTo>
                    <a:cubicBezTo>
                      <a:pt x="2036" y="1906"/>
                      <a:pt x="2304" y="1247"/>
                      <a:pt x="2058" y="671"/>
                    </a:cubicBezTo>
                    <a:cubicBezTo>
                      <a:pt x="1859" y="246"/>
                      <a:pt x="1449" y="0"/>
                      <a:pt x="101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40"/>
              <p:cNvSpPr/>
              <p:nvPr/>
            </p:nvSpPr>
            <p:spPr>
              <a:xfrm>
                <a:off x="6178318" y="2656540"/>
                <a:ext cx="47492" cy="41431"/>
              </a:xfrm>
              <a:custGeom>
                <a:avLst/>
                <a:gdLst/>
                <a:ahLst/>
                <a:cxnLst/>
                <a:rect l="l" t="t" r="r" b="b"/>
                <a:pathLst>
                  <a:path w="2202" h="1921" extrusionOk="0">
                    <a:moveTo>
                      <a:pt x="206" y="0"/>
                    </a:moveTo>
                    <a:lnTo>
                      <a:pt x="206" y="0"/>
                    </a:lnTo>
                    <a:cubicBezTo>
                      <a:pt x="1" y="267"/>
                      <a:pt x="165" y="637"/>
                      <a:pt x="350" y="1070"/>
                    </a:cubicBezTo>
                    <a:cubicBezTo>
                      <a:pt x="549" y="1536"/>
                      <a:pt x="736" y="1921"/>
                      <a:pt x="1093" y="1921"/>
                    </a:cubicBezTo>
                    <a:cubicBezTo>
                      <a:pt x="1178" y="1921"/>
                      <a:pt x="1272" y="1899"/>
                      <a:pt x="1378" y="1852"/>
                    </a:cubicBezTo>
                    <a:cubicBezTo>
                      <a:pt x="1934" y="1624"/>
                      <a:pt x="2201" y="988"/>
                      <a:pt x="1976" y="431"/>
                    </a:cubicBezTo>
                    <a:lnTo>
                      <a:pt x="1976" y="431"/>
                    </a:lnTo>
                    <a:cubicBezTo>
                      <a:pt x="1362" y="722"/>
                      <a:pt x="964" y="854"/>
                      <a:pt x="704" y="854"/>
                    </a:cubicBezTo>
                    <a:cubicBezTo>
                      <a:pt x="302" y="854"/>
                      <a:pt x="231" y="53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40"/>
              <p:cNvSpPr/>
              <p:nvPr/>
            </p:nvSpPr>
            <p:spPr>
              <a:xfrm>
                <a:off x="6516410" y="2450182"/>
                <a:ext cx="52387" cy="50295"/>
              </a:xfrm>
              <a:custGeom>
                <a:avLst/>
                <a:gdLst/>
                <a:ahLst/>
                <a:cxnLst/>
                <a:rect l="l" t="t" r="r" b="b"/>
                <a:pathLst>
                  <a:path w="2429" h="2332" extrusionOk="0">
                    <a:moveTo>
                      <a:pt x="1080" y="1"/>
                    </a:moveTo>
                    <a:cubicBezTo>
                      <a:pt x="918" y="1"/>
                      <a:pt x="754" y="34"/>
                      <a:pt x="596" y="105"/>
                    </a:cubicBezTo>
                    <a:cubicBezTo>
                      <a:pt x="1" y="352"/>
                      <a:pt x="206" y="845"/>
                      <a:pt x="473" y="1441"/>
                    </a:cubicBezTo>
                    <a:cubicBezTo>
                      <a:pt x="674" y="1928"/>
                      <a:pt x="862" y="2331"/>
                      <a:pt x="1246" y="2331"/>
                    </a:cubicBezTo>
                    <a:cubicBezTo>
                      <a:pt x="1334" y="2331"/>
                      <a:pt x="1432" y="2310"/>
                      <a:pt x="1543" y="2264"/>
                    </a:cubicBezTo>
                    <a:cubicBezTo>
                      <a:pt x="2140" y="1998"/>
                      <a:pt x="2428" y="1298"/>
                      <a:pt x="2160" y="701"/>
                    </a:cubicBezTo>
                    <a:cubicBezTo>
                      <a:pt x="1964" y="262"/>
                      <a:pt x="1532" y="1"/>
                      <a:pt x="10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40"/>
              <p:cNvSpPr/>
              <p:nvPr/>
            </p:nvSpPr>
            <p:spPr>
              <a:xfrm>
                <a:off x="6518200" y="2456652"/>
                <a:ext cx="50123" cy="48290"/>
              </a:xfrm>
              <a:custGeom>
                <a:avLst/>
                <a:gdLst/>
                <a:ahLst/>
                <a:cxnLst/>
                <a:rect l="l" t="t" r="r" b="b"/>
                <a:pathLst>
                  <a:path w="2324" h="2239" extrusionOk="0">
                    <a:moveTo>
                      <a:pt x="1024" y="0"/>
                    </a:moveTo>
                    <a:cubicBezTo>
                      <a:pt x="875" y="0"/>
                      <a:pt x="723" y="30"/>
                      <a:pt x="576" y="93"/>
                    </a:cubicBezTo>
                    <a:cubicBezTo>
                      <a:pt x="0" y="340"/>
                      <a:pt x="206" y="812"/>
                      <a:pt x="453" y="1388"/>
                    </a:cubicBezTo>
                    <a:cubicBezTo>
                      <a:pt x="652" y="1854"/>
                      <a:pt x="825" y="2239"/>
                      <a:pt x="1188" y="2239"/>
                    </a:cubicBezTo>
                    <a:cubicBezTo>
                      <a:pt x="1274" y="2239"/>
                      <a:pt x="1371" y="2217"/>
                      <a:pt x="1481" y="2170"/>
                    </a:cubicBezTo>
                    <a:cubicBezTo>
                      <a:pt x="2057" y="1923"/>
                      <a:pt x="2324" y="1245"/>
                      <a:pt x="2057" y="669"/>
                    </a:cubicBezTo>
                    <a:cubicBezTo>
                      <a:pt x="1873" y="254"/>
                      <a:pt x="1460" y="0"/>
                      <a:pt x="10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40"/>
              <p:cNvSpPr/>
              <p:nvPr/>
            </p:nvSpPr>
            <p:spPr>
              <a:xfrm>
                <a:off x="6520400" y="2463079"/>
                <a:ext cx="47039" cy="41863"/>
              </a:xfrm>
              <a:custGeom>
                <a:avLst/>
                <a:gdLst/>
                <a:ahLst/>
                <a:cxnLst/>
                <a:rect l="l" t="t" r="r" b="b"/>
                <a:pathLst>
                  <a:path w="2181" h="1941" extrusionOk="0">
                    <a:moveTo>
                      <a:pt x="206" y="1"/>
                    </a:moveTo>
                    <a:lnTo>
                      <a:pt x="206" y="1"/>
                    </a:lnTo>
                    <a:cubicBezTo>
                      <a:pt x="0" y="267"/>
                      <a:pt x="145" y="638"/>
                      <a:pt x="351" y="1090"/>
                    </a:cubicBezTo>
                    <a:cubicBezTo>
                      <a:pt x="550" y="1556"/>
                      <a:pt x="723" y="1941"/>
                      <a:pt x="1086" y="1941"/>
                    </a:cubicBezTo>
                    <a:cubicBezTo>
                      <a:pt x="1172" y="1941"/>
                      <a:pt x="1269" y="1919"/>
                      <a:pt x="1379" y="1872"/>
                    </a:cubicBezTo>
                    <a:cubicBezTo>
                      <a:pt x="1934" y="1625"/>
                      <a:pt x="2181" y="988"/>
                      <a:pt x="1975" y="432"/>
                    </a:cubicBezTo>
                    <a:lnTo>
                      <a:pt x="1975" y="432"/>
                    </a:lnTo>
                    <a:cubicBezTo>
                      <a:pt x="1364" y="730"/>
                      <a:pt x="966" y="864"/>
                      <a:pt x="706" y="864"/>
                    </a:cubicBezTo>
                    <a:cubicBezTo>
                      <a:pt x="302" y="864"/>
                      <a:pt x="231" y="539"/>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40"/>
              <p:cNvSpPr/>
              <p:nvPr/>
            </p:nvSpPr>
            <p:spPr>
              <a:xfrm>
                <a:off x="5931176" y="2772185"/>
                <a:ext cx="51482" cy="50403"/>
              </a:xfrm>
              <a:custGeom>
                <a:avLst/>
                <a:gdLst/>
                <a:ahLst/>
                <a:cxnLst/>
                <a:rect l="l" t="t" r="r" b="b"/>
                <a:pathLst>
                  <a:path w="2387" h="2337" extrusionOk="0">
                    <a:moveTo>
                      <a:pt x="1040" y="1"/>
                    </a:moveTo>
                    <a:cubicBezTo>
                      <a:pt x="892" y="1"/>
                      <a:pt x="742" y="29"/>
                      <a:pt x="598" y="89"/>
                    </a:cubicBezTo>
                    <a:cubicBezTo>
                      <a:pt x="0" y="336"/>
                      <a:pt x="186" y="830"/>
                      <a:pt x="433" y="1447"/>
                    </a:cubicBezTo>
                    <a:cubicBezTo>
                      <a:pt x="634" y="1933"/>
                      <a:pt x="808" y="2336"/>
                      <a:pt x="1187" y="2336"/>
                    </a:cubicBezTo>
                    <a:cubicBezTo>
                      <a:pt x="1273" y="2336"/>
                      <a:pt x="1371" y="2315"/>
                      <a:pt x="1481" y="2270"/>
                    </a:cubicBezTo>
                    <a:cubicBezTo>
                      <a:pt x="2098" y="2023"/>
                      <a:pt x="2386" y="1345"/>
                      <a:pt x="2140" y="747"/>
                    </a:cubicBezTo>
                    <a:cubicBezTo>
                      <a:pt x="1953" y="279"/>
                      <a:pt x="1505" y="1"/>
                      <a:pt x="10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40"/>
              <p:cNvSpPr/>
              <p:nvPr/>
            </p:nvSpPr>
            <p:spPr>
              <a:xfrm>
                <a:off x="5932513" y="2778849"/>
                <a:ext cx="49260" cy="48182"/>
              </a:xfrm>
              <a:custGeom>
                <a:avLst/>
                <a:gdLst/>
                <a:ahLst/>
                <a:cxnLst/>
                <a:rect l="l" t="t" r="r" b="b"/>
                <a:pathLst>
                  <a:path w="2284" h="2234" extrusionOk="0">
                    <a:moveTo>
                      <a:pt x="1010" y="1"/>
                    </a:moveTo>
                    <a:cubicBezTo>
                      <a:pt x="865" y="1"/>
                      <a:pt x="718" y="29"/>
                      <a:pt x="577" y="89"/>
                    </a:cubicBezTo>
                    <a:cubicBezTo>
                      <a:pt x="1" y="315"/>
                      <a:pt x="185" y="789"/>
                      <a:pt x="412" y="1365"/>
                    </a:cubicBezTo>
                    <a:cubicBezTo>
                      <a:pt x="613" y="1833"/>
                      <a:pt x="787" y="2233"/>
                      <a:pt x="1154" y="2233"/>
                    </a:cubicBezTo>
                    <a:cubicBezTo>
                      <a:pt x="1239" y="2233"/>
                      <a:pt x="1333" y="2212"/>
                      <a:pt x="1441" y="2166"/>
                    </a:cubicBezTo>
                    <a:cubicBezTo>
                      <a:pt x="2017" y="1941"/>
                      <a:pt x="2283" y="1283"/>
                      <a:pt x="2058" y="706"/>
                    </a:cubicBezTo>
                    <a:cubicBezTo>
                      <a:pt x="1886" y="271"/>
                      <a:pt x="1457" y="1"/>
                      <a:pt x="101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40"/>
              <p:cNvSpPr/>
              <p:nvPr/>
            </p:nvSpPr>
            <p:spPr>
              <a:xfrm>
                <a:off x="5934713" y="2784737"/>
                <a:ext cx="46629" cy="42294"/>
              </a:xfrm>
              <a:custGeom>
                <a:avLst/>
                <a:gdLst/>
                <a:ahLst/>
                <a:cxnLst/>
                <a:rect l="l" t="t" r="r" b="b"/>
                <a:pathLst>
                  <a:path w="2162" h="1961" extrusionOk="0">
                    <a:moveTo>
                      <a:pt x="206" y="1"/>
                    </a:moveTo>
                    <a:cubicBezTo>
                      <a:pt x="1" y="269"/>
                      <a:pt x="146" y="659"/>
                      <a:pt x="310" y="1092"/>
                    </a:cubicBezTo>
                    <a:cubicBezTo>
                      <a:pt x="511" y="1560"/>
                      <a:pt x="685" y="1960"/>
                      <a:pt x="1052" y="1960"/>
                    </a:cubicBezTo>
                    <a:cubicBezTo>
                      <a:pt x="1137" y="1960"/>
                      <a:pt x="1231" y="1939"/>
                      <a:pt x="1339" y="1893"/>
                    </a:cubicBezTo>
                    <a:cubicBezTo>
                      <a:pt x="1893" y="1668"/>
                      <a:pt x="2162" y="1051"/>
                      <a:pt x="1976" y="494"/>
                    </a:cubicBezTo>
                    <a:lnTo>
                      <a:pt x="1976" y="494"/>
                    </a:lnTo>
                    <a:cubicBezTo>
                      <a:pt x="1370" y="759"/>
                      <a:pt x="972" y="879"/>
                      <a:pt x="711" y="879"/>
                    </a:cubicBezTo>
                    <a:cubicBezTo>
                      <a:pt x="280" y="879"/>
                      <a:pt x="220" y="552"/>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40"/>
              <p:cNvSpPr/>
              <p:nvPr/>
            </p:nvSpPr>
            <p:spPr>
              <a:xfrm>
                <a:off x="5819349" y="2832099"/>
                <a:ext cx="51503" cy="50360"/>
              </a:xfrm>
              <a:custGeom>
                <a:avLst/>
                <a:gdLst/>
                <a:ahLst/>
                <a:cxnLst/>
                <a:rect l="l" t="t" r="r" b="b"/>
                <a:pathLst>
                  <a:path w="2388" h="2335" extrusionOk="0">
                    <a:moveTo>
                      <a:pt x="1061" y="1"/>
                    </a:moveTo>
                    <a:cubicBezTo>
                      <a:pt x="914" y="1"/>
                      <a:pt x="763" y="29"/>
                      <a:pt x="618" y="89"/>
                    </a:cubicBezTo>
                    <a:cubicBezTo>
                      <a:pt x="1" y="336"/>
                      <a:pt x="187" y="830"/>
                      <a:pt x="434" y="1425"/>
                    </a:cubicBezTo>
                    <a:cubicBezTo>
                      <a:pt x="636" y="1915"/>
                      <a:pt x="824" y="2335"/>
                      <a:pt x="1214" y="2335"/>
                    </a:cubicBezTo>
                    <a:cubicBezTo>
                      <a:pt x="1300" y="2335"/>
                      <a:pt x="1396" y="2314"/>
                      <a:pt x="1504" y="2270"/>
                    </a:cubicBezTo>
                    <a:cubicBezTo>
                      <a:pt x="2099" y="2023"/>
                      <a:pt x="2387" y="1323"/>
                      <a:pt x="2140" y="726"/>
                    </a:cubicBezTo>
                    <a:cubicBezTo>
                      <a:pt x="1954" y="275"/>
                      <a:pt x="1520" y="1"/>
                      <a:pt x="10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40"/>
              <p:cNvSpPr/>
              <p:nvPr/>
            </p:nvSpPr>
            <p:spPr>
              <a:xfrm>
                <a:off x="5821139" y="2838483"/>
                <a:ext cx="49282" cy="48290"/>
              </a:xfrm>
              <a:custGeom>
                <a:avLst/>
                <a:gdLst/>
                <a:ahLst/>
                <a:cxnLst/>
                <a:rect l="l" t="t" r="r" b="b"/>
                <a:pathLst>
                  <a:path w="2285" h="2239" extrusionOk="0">
                    <a:moveTo>
                      <a:pt x="998" y="0"/>
                    </a:moveTo>
                    <a:cubicBezTo>
                      <a:pt x="858" y="0"/>
                      <a:pt x="715" y="26"/>
                      <a:pt x="576" y="81"/>
                    </a:cubicBezTo>
                    <a:cubicBezTo>
                      <a:pt x="0" y="328"/>
                      <a:pt x="165" y="800"/>
                      <a:pt x="412" y="1376"/>
                    </a:cubicBezTo>
                    <a:cubicBezTo>
                      <a:pt x="598" y="1849"/>
                      <a:pt x="770" y="2238"/>
                      <a:pt x="1144" y="2238"/>
                    </a:cubicBezTo>
                    <a:cubicBezTo>
                      <a:pt x="1226" y="2238"/>
                      <a:pt x="1317" y="2220"/>
                      <a:pt x="1421" y="2179"/>
                    </a:cubicBezTo>
                    <a:cubicBezTo>
                      <a:pt x="1997" y="1932"/>
                      <a:pt x="2285" y="1274"/>
                      <a:pt x="2038" y="698"/>
                    </a:cubicBezTo>
                    <a:cubicBezTo>
                      <a:pt x="1865" y="260"/>
                      <a:pt x="1444" y="0"/>
                      <a:pt x="99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40"/>
              <p:cNvSpPr/>
              <p:nvPr/>
            </p:nvSpPr>
            <p:spPr>
              <a:xfrm>
                <a:off x="5822907" y="2844651"/>
                <a:ext cx="47060" cy="42121"/>
              </a:xfrm>
              <a:custGeom>
                <a:avLst/>
                <a:gdLst/>
                <a:ahLst/>
                <a:cxnLst/>
                <a:rect l="l" t="t" r="r" b="b"/>
                <a:pathLst>
                  <a:path w="2182" h="1953" extrusionOk="0">
                    <a:moveTo>
                      <a:pt x="228" y="1"/>
                    </a:moveTo>
                    <a:lnTo>
                      <a:pt x="228" y="1"/>
                    </a:lnTo>
                    <a:cubicBezTo>
                      <a:pt x="0" y="267"/>
                      <a:pt x="145" y="638"/>
                      <a:pt x="330" y="1090"/>
                    </a:cubicBezTo>
                    <a:cubicBezTo>
                      <a:pt x="516" y="1563"/>
                      <a:pt x="688" y="1952"/>
                      <a:pt x="1062" y="1952"/>
                    </a:cubicBezTo>
                    <a:cubicBezTo>
                      <a:pt x="1144" y="1952"/>
                      <a:pt x="1235" y="1934"/>
                      <a:pt x="1339" y="1893"/>
                    </a:cubicBezTo>
                    <a:cubicBezTo>
                      <a:pt x="1915" y="1666"/>
                      <a:pt x="2181" y="1029"/>
                      <a:pt x="1975" y="473"/>
                    </a:cubicBezTo>
                    <a:lnTo>
                      <a:pt x="1975" y="473"/>
                    </a:lnTo>
                    <a:cubicBezTo>
                      <a:pt x="1370" y="749"/>
                      <a:pt x="973" y="874"/>
                      <a:pt x="712" y="874"/>
                    </a:cubicBezTo>
                    <a:cubicBezTo>
                      <a:pt x="290" y="874"/>
                      <a:pt x="228" y="547"/>
                      <a:pt x="22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40"/>
              <p:cNvSpPr/>
              <p:nvPr/>
            </p:nvSpPr>
            <p:spPr>
              <a:xfrm>
                <a:off x="5690677" y="2898657"/>
                <a:ext cx="51503" cy="50791"/>
              </a:xfrm>
              <a:custGeom>
                <a:avLst/>
                <a:gdLst/>
                <a:ahLst/>
                <a:cxnLst/>
                <a:rect l="l" t="t" r="r" b="b"/>
                <a:pathLst>
                  <a:path w="2388" h="2355" extrusionOk="0">
                    <a:moveTo>
                      <a:pt x="1041" y="1"/>
                    </a:moveTo>
                    <a:cubicBezTo>
                      <a:pt x="893" y="1"/>
                      <a:pt x="743" y="29"/>
                      <a:pt x="598" y="89"/>
                    </a:cubicBezTo>
                    <a:cubicBezTo>
                      <a:pt x="1" y="336"/>
                      <a:pt x="187" y="829"/>
                      <a:pt x="434" y="1447"/>
                    </a:cubicBezTo>
                    <a:cubicBezTo>
                      <a:pt x="636" y="1935"/>
                      <a:pt x="811" y="2354"/>
                      <a:pt x="1195" y="2354"/>
                    </a:cubicBezTo>
                    <a:cubicBezTo>
                      <a:pt x="1280" y="2354"/>
                      <a:pt x="1374" y="2334"/>
                      <a:pt x="1482" y="2289"/>
                    </a:cubicBezTo>
                    <a:cubicBezTo>
                      <a:pt x="2099" y="2042"/>
                      <a:pt x="2387" y="1343"/>
                      <a:pt x="2140" y="747"/>
                    </a:cubicBezTo>
                    <a:cubicBezTo>
                      <a:pt x="1953" y="279"/>
                      <a:pt x="1506" y="1"/>
                      <a:pt x="10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40"/>
              <p:cNvSpPr/>
              <p:nvPr/>
            </p:nvSpPr>
            <p:spPr>
              <a:xfrm>
                <a:off x="5692036" y="2905472"/>
                <a:ext cx="49260" cy="48290"/>
              </a:xfrm>
              <a:custGeom>
                <a:avLst/>
                <a:gdLst/>
                <a:ahLst/>
                <a:cxnLst/>
                <a:rect l="l" t="t" r="r" b="b"/>
                <a:pathLst>
                  <a:path w="2284" h="2239" extrusionOk="0">
                    <a:moveTo>
                      <a:pt x="998" y="1"/>
                    </a:moveTo>
                    <a:cubicBezTo>
                      <a:pt x="857" y="1"/>
                      <a:pt x="715" y="27"/>
                      <a:pt x="577" y="81"/>
                    </a:cubicBezTo>
                    <a:cubicBezTo>
                      <a:pt x="1" y="327"/>
                      <a:pt x="185" y="801"/>
                      <a:pt x="412" y="1377"/>
                    </a:cubicBezTo>
                    <a:cubicBezTo>
                      <a:pt x="614" y="1850"/>
                      <a:pt x="789" y="2239"/>
                      <a:pt x="1163" y="2239"/>
                    </a:cubicBezTo>
                    <a:cubicBezTo>
                      <a:pt x="1245" y="2239"/>
                      <a:pt x="1337" y="2220"/>
                      <a:pt x="1441" y="2179"/>
                    </a:cubicBezTo>
                    <a:cubicBezTo>
                      <a:pt x="2017" y="1932"/>
                      <a:pt x="2283" y="1274"/>
                      <a:pt x="2058" y="698"/>
                    </a:cubicBezTo>
                    <a:cubicBezTo>
                      <a:pt x="1870" y="260"/>
                      <a:pt x="1445" y="1"/>
                      <a:pt x="99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40"/>
              <p:cNvSpPr/>
              <p:nvPr/>
            </p:nvSpPr>
            <p:spPr>
              <a:xfrm>
                <a:off x="5694236" y="2911640"/>
                <a:ext cx="46629" cy="42121"/>
              </a:xfrm>
              <a:custGeom>
                <a:avLst/>
                <a:gdLst/>
                <a:ahLst/>
                <a:cxnLst/>
                <a:rect l="l" t="t" r="r" b="b"/>
                <a:pathLst>
                  <a:path w="2162" h="1953" extrusionOk="0">
                    <a:moveTo>
                      <a:pt x="206" y="0"/>
                    </a:moveTo>
                    <a:cubicBezTo>
                      <a:pt x="1" y="247"/>
                      <a:pt x="124" y="639"/>
                      <a:pt x="310" y="1091"/>
                    </a:cubicBezTo>
                    <a:cubicBezTo>
                      <a:pt x="512" y="1564"/>
                      <a:pt x="687" y="1953"/>
                      <a:pt x="1061" y="1953"/>
                    </a:cubicBezTo>
                    <a:cubicBezTo>
                      <a:pt x="1143" y="1953"/>
                      <a:pt x="1235" y="1934"/>
                      <a:pt x="1339" y="1893"/>
                    </a:cubicBezTo>
                    <a:cubicBezTo>
                      <a:pt x="1893" y="1667"/>
                      <a:pt x="2161" y="1029"/>
                      <a:pt x="1956" y="474"/>
                    </a:cubicBezTo>
                    <a:lnTo>
                      <a:pt x="1956" y="474"/>
                    </a:lnTo>
                    <a:cubicBezTo>
                      <a:pt x="1350" y="749"/>
                      <a:pt x="955" y="874"/>
                      <a:pt x="697" y="874"/>
                    </a:cubicBezTo>
                    <a:cubicBezTo>
                      <a:pt x="279" y="874"/>
                      <a:pt x="219" y="547"/>
                      <a:pt x="20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40"/>
              <p:cNvSpPr/>
              <p:nvPr/>
            </p:nvSpPr>
            <p:spPr>
              <a:xfrm>
                <a:off x="6037224" y="2714082"/>
                <a:ext cx="51503" cy="50403"/>
              </a:xfrm>
              <a:custGeom>
                <a:avLst/>
                <a:gdLst/>
                <a:ahLst/>
                <a:cxnLst/>
                <a:rect l="l" t="t" r="r" b="b"/>
                <a:pathLst>
                  <a:path w="2388" h="2337" extrusionOk="0">
                    <a:moveTo>
                      <a:pt x="1051" y="0"/>
                    </a:moveTo>
                    <a:cubicBezTo>
                      <a:pt x="901" y="0"/>
                      <a:pt x="747" y="29"/>
                      <a:pt x="596" y="89"/>
                    </a:cubicBezTo>
                    <a:cubicBezTo>
                      <a:pt x="1" y="336"/>
                      <a:pt x="185" y="829"/>
                      <a:pt x="432" y="1425"/>
                    </a:cubicBezTo>
                    <a:cubicBezTo>
                      <a:pt x="633" y="1928"/>
                      <a:pt x="807" y="2336"/>
                      <a:pt x="1199" y="2336"/>
                    </a:cubicBezTo>
                    <a:cubicBezTo>
                      <a:pt x="1287" y="2336"/>
                      <a:pt x="1388" y="2315"/>
                      <a:pt x="1502" y="2269"/>
                    </a:cubicBezTo>
                    <a:cubicBezTo>
                      <a:pt x="2099" y="2023"/>
                      <a:pt x="2387" y="1343"/>
                      <a:pt x="2140" y="726"/>
                    </a:cubicBezTo>
                    <a:cubicBezTo>
                      <a:pt x="1953" y="275"/>
                      <a:pt x="1519" y="0"/>
                      <a:pt x="10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40"/>
              <p:cNvSpPr/>
              <p:nvPr/>
            </p:nvSpPr>
            <p:spPr>
              <a:xfrm>
                <a:off x="6038992" y="2720703"/>
                <a:ext cx="49260" cy="48225"/>
              </a:xfrm>
              <a:custGeom>
                <a:avLst/>
                <a:gdLst/>
                <a:ahLst/>
                <a:cxnLst/>
                <a:rect l="l" t="t" r="r" b="b"/>
                <a:pathLst>
                  <a:path w="2284" h="2236" extrusionOk="0">
                    <a:moveTo>
                      <a:pt x="1007" y="1"/>
                    </a:moveTo>
                    <a:cubicBezTo>
                      <a:pt x="864" y="1"/>
                      <a:pt x="718" y="29"/>
                      <a:pt x="577" y="90"/>
                    </a:cubicBezTo>
                    <a:cubicBezTo>
                      <a:pt x="1" y="317"/>
                      <a:pt x="166" y="789"/>
                      <a:pt x="412" y="1365"/>
                    </a:cubicBezTo>
                    <a:cubicBezTo>
                      <a:pt x="596" y="1834"/>
                      <a:pt x="766" y="2235"/>
                      <a:pt x="1134" y="2235"/>
                    </a:cubicBezTo>
                    <a:cubicBezTo>
                      <a:pt x="1218" y="2235"/>
                      <a:pt x="1312" y="2214"/>
                      <a:pt x="1420" y="2168"/>
                    </a:cubicBezTo>
                    <a:cubicBezTo>
                      <a:pt x="1996" y="1941"/>
                      <a:pt x="2284" y="1283"/>
                      <a:pt x="2037" y="707"/>
                    </a:cubicBezTo>
                    <a:cubicBezTo>
                      <a:pt x="1866" y="272"/>
                      <a:pt x="1449" y="1"/>
                      <a:pt x="100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40"/>
              <p:cNvSpPr/>
              <p:nvPr/>
            </p:nvSpPr>
            <p:spPr>
              <a:xfrm>
                <a:off x="6040782" y="2726634"/>
                <a:ext cx="46586" cy="42294"/>
              </a:xfrm>
              <a:custGeom>
                <a:avLst/>
                <a:gdLst/>
                <a:ahLst/>
                <a:cxnLst/>
                <a:rect l="l" t="t" r="r" b="b"/>
                <a:pathLst>
                  <a:path w="2160" h="1961" extrusionOk="0">
                    <a:moveTo>
                      <a:pt x="206" y="1"/>
                    </a:moveTo>
                    <a:lnTo>
                      <a:pt x="206" y="1"/>
                    </a:lnTo>
                    <a:cubicBezTo>
                      <a:pt x="0" y="267"/>
                      <a:pt x="143" y="659"/>
                      <a:pt x="329" y="1090"/>
                    </a:cubicBezTo>
                    <a:cubicBezTo>
                      <a:pt x="513" y="1559"/>
                      <a:pt x="683" y="1960"/>
                      <a:pt x="1051" y="1960"/>
                    </a:cubicBezTo>
                    <a:cubicBezTo>
                      <a:pt x="1135" y="1960"/>
                      <a:pt x="1229" y="1939"/>
                      <a:pt x="1337" y="1893"/>
                    </a:cubicBezTo>
                    <a:cubicBezTo>
                      <a:pt x="1893" y="1666"/>
                      <a:pt x="2160" y="1049"/>
                      <a:pt x="1975" y="473"/>
                    </a:cubicBezTo>
                    <a:lnTo>
                      <a:pt x="1975" y="473"/>
                    </a:lnTo>
                    <a:cubicBezTo>
                      <a:pt x="1362" y="748"/>
                      <a:pt x="962" y="873"/>
                      <a:pt x="701" y="873"/>
                    </a:cubicBezTo>
                    <a:cubicBezTo>
                      <a:pt x="278" y="873"/>
                      <a:pt x="218" y="547"/>
                      <a:pt x="2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246" name="Google Shape;4246;p40"/>
          <p:cNvSpPr/>
          <p:nvPr/>
        </p:nvSpPr>
        <p:spPr>
          <a:xfrm>
            <a:off x="2695575" y="577651"/>
            <a:ext cx="7524750" cy="852425"/>
          </a:xfrm>
          <a:custGeom>
            <a:avLst/>
            <a:gdLst/>
            <a:ahLst/>
            <a:cxnLst/>
            <a:rect l="l" t="t" r="r" b="b"/>
            <a:pathLst>
              <a:path w="300990" h="34097" extrusionOk="0">
                <a:moveTo>
                  <a:pt x="0" y="32520"/>
                </a:moveTo>
                <a:cubicBezTo>
                  <a:pt x="7924" y="35161"/>
                  <a:pt x="18859" y="34616"/>
                  <a:pt x="24765" y="28710"/>
                </a:cubicBezTo>
                <a:cubicBezTo>
                  <a:pt x="31243" y="22232"/>
                  <a:pt x="37345" y="15285"/>
                  <a:pt x="44577" y="9660"/>
                </a:cubicBezTo>
                <a:cubicBezTo>
                  <a:pt x="51934" y="3938"/>
                  <a:pt x="61556" y="578"/>
                  <a:pt x="70866" y="135"/>
                </a:cubicBezTo>
                <a:cubicBezTo>
                  <a:pt x="93542" y="-945"/>
                  <a:pt x="114127" y="15770"/>
                  <a:pt x="136779" y="17280"/>
                </a:cubicBezTo>
                <a:cubicBezTo>
                  <a:pt x="151596" y="18268"/>
                  <a:pt x="166931" y="14015"/>
                  <a:pt x="180213" y="7374"/>
                </a:cubicBezTo>
                <a:cubicBezTo>
                  <a:pt x="184785" y="5088"/>
                  <a:pt x="188887" y="1356"/>
                  <a:pt x="193929" y="516"/>
                </a:cubicBezTo>
                <a:cubicBezTo>
                  <a:pt x="209882" y="-2143"/>
                  <a:pt x="225483" y="7642"/>
                  <a:pt x="241173" y="11565"/>
                </a:cubicBezTo>
                <a:cubicBezTo>
                  <a:pt x="260630" y="16429"/>
                  <a:pt x="281089" y="15554"/>
                  <a:pt x="300990" y="18042"/>
                </a:cubicBezTo>
              </a:path>
            </a:pathLst>
          </a:custGeom>
          <a:noFill/>
          <a:ln w="19050" cap="flat" cmpd="sng">
            <a:solidFill>
              <a:schemeClr val="accent5"/>
            </a:solidFill>
            <a:prstDash val="dash"/>
            <a:round/>
            <a:headEnd type="none" w="med" len="med"/>
            <a:tailEnd type="none" w="med" len="med"/>
          </a:ln>
        </p:spPr>
        <p:txBody>
          <a:bodyPr/>
          <a:lstStyle/>
          <a:p>
            <a:endParaRPr lang="en-GB"/>
          </a:p>
        </p:txBody>
      </p:sp>
      <p:sp>
        <p:nvSpPr>
          <p:cNvPr id="4247" name="Google Shape;4247;p40"/>
          <p:cNvSpPr/>
          <p:nvPr/>
        </p:nvSpPr>
        <p:spPr>
          <a:xfrm>
            <a:off x="928277" y="2335969"/>
            <a:ext cx="3129375" cy="3560000"/>
          </a:xfrm>
          <a:custGeom>
            <a:avLst/>
            <a:gdLst/>
            <a:ahLst/>
            <a:cxnLst/>
            <a:rect l="l" t="t" r="r" b="b"/>
            <a:pathLst>
              <a:path w="125175" h="142400" extrusionOk="0">
                <a:moveTo>
                  <a:pt x="125175" y="12098"/>
                </a:moveTo>
                <a:cubicBezTo>
                  <a:pt x="108411" y="26068"/>
                  <a:pt x="79660" y="31892"/>
                  <a:pt x="60405" y="21623"/>
                </a:cubicBezTo>
                <a:cubicBezTo>
                  <a:pt x="54873" y="18673"/>
                  <a:pt x="57931" y="7034"/>
                  <a:pt x="62691" y="2954"/>
                </a:cubicBezTo>
                <a:cubicBezTo>
                  <a:pt x="67536" y="-1199"/>
                  <a:pt x="79371" y="-1066"/>
                  <a:pt x="81741" y="4859"/>
                </a:cubicBezTo>
                <a:cubicBezTo>
                  <a:pt x="84441" y="11609"/>
                  <a:pt x="78205" y="20786"/>
                  <a:pt x="71835" y="24290"/>
                </a:cubicBezTo>
                <a:cubicBezTo>
                  <a:pt x="65429" y="27813"/>
                  <a:pt x="57961" y="28946"/>
                  <a:pt x="50880" y="30767"/>
                </a:cubicBezTo>
                <a:cubicBezTo>
                  <a:pt x="36012" y="34590"/>
                  <a:pt x="17539" y="32866"/>
                  <a:pt x="6684" y="43721"/>
                </a:cubicBezTo>
                <a:cubicBezTo>
                  <a:pt x="1541" y="48864"/>
                  <a:pt x="-2432" y="59377"/>
                  <a:pt x="2112" y="65057"/>
                </a:cubicBezTo>
                <a:cubicBezTo>
                  <a:pt x="6988" y="71153"/>
                  <a:pt x="16706" y="70627"/>
                  <a:pt x="23829" y="73820"/>
                </a:cubicBezTo>
                <a:cubicBezTo>
                  <a:pt x="27143" y="75306"/>
                  <a:pt x="28734" y="79308"/>
                  <a:pt x="30306" y="82583"/>
                </a:cubicBezTo>
                <a:cubicBezTo>
                  <a:pt x="39052" y="100803"/>
                  <a:pt x="34691" y="128109"/>
                  <a:pt x="20400" y="142400"/>
                </a:cubicBezTo>
              </a:path>
            </a:pathLst>
          </a:custGeom>
          <a:noFill/>
          <a:ln w="19050" cap="flat" cmpd="sng">
            <a:solidFill>
              <a:schemeClr val="accent5"/>
            </a:solidFill>
            <a:prstDash val="dash"/>
            <a:round/>
            <a:headEnd type="none" w="med" len="med"/>
            <a:tailEnd type="none" w="med" len="med"/>
          </a:ln>
        </p:spPr>
        <p:txBody>
          <a:bodyPr/>
          <a:lstStyle/>
          <a:p>
            <a:endParaRPr lang="en-GB"/>
          </a:p>
        </p:txBody>
      </p:sp>
      <p:pic>
        <p:nvPicPr>
          <p:cNvPr id="3" name="Graphic 2" descr="Chess pieces with solid fill">
            <a:extLst>
              <a:ext uri="{FF2B5EF4-FFF2-40B4-BE49-F238E27FC236}">
                <a16:creationId xmlns:a16="http://schemas.microsoft.com/office/drawing/2014/main" id="{3A02069F-86F7-7D6D-5355-FEFAA0A360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3010" y="2281021"/>
            <a:ext cx="1048719" cy="1048719"/>
          </a:xfrm>
          <a:prstGeom prst="rect">
            <a:avLst/>
          </a:prstGeom>
        </p:spPr>
      </p:pic>
    </p:spTree>
    <p:extLst>
      <p:ext uri="{BB962C8B-B14F-4D97-AF65-F5344CB8AC3E}">
        <p14:creationId xmlns:p14="http://schemas.microsoft.com/office/powerpoint/2010/main" val="3811597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C2EB3E2-B1A0-C7E4-4394-A471A6EDF487}"/>
              </a:ext>
            </a:extLst>
          </p:cNvPr>
          <p:cNvSpPr txBox="1"/>
          <p:nvPr/>
        </p:nvSpPr>
        <p:spPr>
          <a:xfrm>
            <a:off x="2046200" y="2642487"/>
            <a:ext cx="911524" cy="230832"/>
          </a:xfrm>
          <a:prstGeom prst="rect">
            <a:avLst/>
          </a:prstGeom>
          <a:solidFill>
            <a:schemeClr val="accent5"/>
          </a:solidFill>
          <a:ln>
            <a:noFill/>
          </a:ln>
        </p:spPr>
        <p:txBody>
          <a:bodyPr wrap="square" rtlCol="0">
            <a:spAutoFit/>
          </a:bodyPr>
          <a:lstStyle/>
          <a:p>
            <a:pPr algn="ctr"/>
            <a:r>
              <a:rPr lang="en-GB" sz="900" b="1">
                <a:solidFill>
                  <a:srgbClr val="0A1D3D"/>
                </a:solidFill>
                <a:latin typeface="Tahoma" panose="020B0604030504040204" pitchFamily="34" charset="0"/>
                <a:ea typeface="Tahoma" panose="020B0604030504040204" pitchFamily="34" charset="0"/>
                <a:cs typeface="Tahoma" panose="020B0604030504040204" pitchFamily="34" charset="0"/>
              </a:rPr>
              <a:t>(UTC)</a:t>
            </a:r>
          </a:p>
        </p:txBody>
      </p:sp>
      <p:sp>
        <p:nvSpPr>
          <p:cNvPr id="26" name="TextBox 25">
            <a:extLst>
              <a:ext uri="{FF2B5EF4-FFF2-40B4-BE49-F238E27FC236}">
                <a16:creationId xmlns:a16="http://schemas.microsoft.com/office/drawing/2014/main" id="{CA0098BE-9AFD-94D6-4C37-1CC56975AF99}"/>
              </a:ext>
            </a:extLst>
          </p:cNvPr>
          <p:cNvSpPr txBox="1"/>
          <p:nvPr/>
        </p:nvSpPr>
        <p:spPr>
          <a:xfrm>
            <a:off x="2046200" y="2649040"/>
            <a:ext cx="911524" cy="230832"/>
          </a:xfrm>
          <a:prstGeom prst="rect">
            <a:avLst/>
          </a:prstGeom>
          <a:solidFill>
            <a:schemeClr val="accent5"/>
          </a:solidFill>
        </p:spPr>
        <p:txBody>
          <a:bodyPr wrap="square" rtlCol="0">
            <a:spAutoFit/>
          </a:bodyPr>
          <a:lstStyle/>
          <a:p>
            <a:pPr algn="ctr"/>
            <a:r>
              <a:rPr lang="en-GB" sz="900" b="1">
                <a:solidFill>
                  <a:srgbClr val="0A1D3D"/>
                </a:solidFill>
                <a:latin typeface="Tahoma" panose="020B0604030504040204" pitchFamily="34" charset="0"/>
                <a:ea typeface="Tahoma" panose="020B0604030504040204" pitchFamily="34" charset="0"/>
                <a:cs typeface="Tahoma" panose="020B0604030504040204" pitchFamily="34" charset="0"/>
              </a:rPr>
              <a:t>(UTC + 1)</a:t>
            </a:r>
          </a:p>
        </p:txBody>
      </p:sp>
      <p:pic>
        <p:nvPicPr>
          <p:cNvPr id="22" name="Picture 21">
            <a:extLst>
              <a:ext uri="{FF2B5EF4-FFF2-40B4-BE49-F238E27FC236}">
                <a16:creationId xmlns:a16="http://schemas.microsoft.com/office/drawing/2014/main" id="{059F38A3-A761-2F28-78EC-CC4705C59B87}"/>
              </a:ext>
            </a:extLst>
          </p:cNvPr>
          <p:cNvPicPr>
            <a:picLocks noChangeAspect="1"/>
          </p:cNvPicPr>
          <p:nvPr/>
        </p:nvPicPr>
        <p:blipFill>
          <a:blip r:embed="rId3"/>
          <a:srcRect/>
          <a:stretch/>
        </p:blipFill>
        <p:spPr>
          <a:xfrm>
            <a:off x="720001" y="2857279"/>
            <a:ext cx="3563922" cy="1855983"/>
          </a:xfrm>
          <a:prstGeom prst="rect">
            <a:avLst/>
          </a:prstGeom>
        </p:spPr>
      </p:pic>
      <p:pic>
        <p:nvPicPr>
          <p:cNvPr id="21" name="Picture 20">
            <a:extLst>
              <a:ext uri="{FF2B5EF4-FFF2-40B4-BE49-F238E27FC236}">
                <a16:creationId xmlns:a16="http://schemas.microsoft.com/office/drawing/2014/main" id="{3CE86C58-5DE0-163E-DF9A-8B38C427F5AB}"/>
              </a:ext>
            </a:extLst>
          </p:cNvPr>
          <p:cNvPicPr>
            <a:picLocks noChangeAspect="1"/>
          </p:cNvPicPr>
          <p:nvPr/>
        </p:nvPicPr>
        <p:blipFill>
          <a:blip r:embed="rId4"/>
          <a:srcRect/>
          <a:stretch/>
        </p:blipFill>
        <p:spPr>
          <a:xfrm>
            <a:off x="720001" y="786502"/>
            <a:ext cx="3563922" cy="1855984"/>
          </a:xfrm>
          <a:prstGeom prst="rect">
            <a:avLst/>
          </a:prstGeom>
        </p:spPr>
      </p:pic>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DO WE OBSERVE DIFFERENCES IN </a:t>
            </a:r>
            <a:r>
              <a:rPr lang="en-GB">
                <a:solidFill>
                  <a:schemeClr val="bg1">
                    <a:lumMod val="50000"/>
                  </a:schemeClr>
                </a:solidFill>
              </a:rPr>
              <a:t>post timing</a:t>
            </a:r>
            <a:r>
              <a:rPr lang="en-GB"/>
              <a:t>?</a:t>
            </a:r>
          </a:p>
        </p:txBody>
      </p:sp>
      <p:sp>
        <p:nvSpPr>
          <p:cNvPr id="5" name="TextBox 4">
            <a:extLst>
              <a:ext uri="{FF2B5EF4-FFF2-40B4-BE49-F238E27FC236}">
                <a16:creationId xmlns:a16="http://schemas.microsoft.com/office/drawing/2014/main" id="{92BF6DCE-702D-7DA9-A561-B5452C2C9698}"/>
              </a:ext>
            </a:extLst>
          </p:cNvPr>
          <p:cNvSpPr txBox="1"/>
          <p:nvPr/>
        </p:nvSpPr>
        <p:spPr>
          <a:xfrm>
            <a:off x="2048802" y="4684119"/>
            <a:ext cx="911524" cy="230832"/>
          </a:xfrm>
          <a:prstGeom prst="rect">
            <a:avLst/>
          </a:prstGeom>
          <a:noFill/>
        </p:spPr>
        <p:txBody>
          <a:bodyPr wrap="square" rtlCol="0">
            <a:spAutoFit/>
          </a:bodyPr>
          <a:lstStyle/>
          <a:p>
            <a:pPr algn="ctr"/>
            <a:r>
              <a:rPr lang="en-GB" sz="900" b="1">
                <a:solidFill>
                  <a:srgbClr val="9C3203"/>
                </a:solidFill>
                <a:latin typeface="Tahoma" panose="020B0604030504040204" pitchFamily="34" charset="0"/>
                <a:ea typeface="Tahoma" panose="020B0604030504040204" pitchFamily="34" charset="0"/>
                <a:cs typeface="Tahoma" panose="020B0604030504040204" pitchFamily="34" charset="0"/>
              </a:rPr>
              <a:t>(UTC)</a:t>
            </a:r>
          </a:p>
        </p:txBody>
      </p:sp>
      <p:pic>
        <p:nvPicPr>
          <p:cNvPr id="1026" name="Picture 2" descr="Based on Sprout Social data, a heatmap showing the best times to post on Instagram globally in 2023">
            <a:extLst>
              <a:ext uri="{FF2B5EF4-FFF2-40B4-BE49-F238E27FC236}">
                <a16:creationId xmlns:a16="http://schemas.microsoft.com/office/drawing/2014/main" id="{A5498256-F6F8-5B61-AB53-148D58FC5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55960" y="1695785"/>
            <a:ext cx="3368040" cy="235842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16796BD-B86D-DD3E-690B-691FED118112}"/>
              </a:ext>
            </a:extLst>
          </p:cNvPr>
          <p:cNvSpPr txBox="1"/>
          <p:nvPr/>
        </p:nvSpPr>
        <p:spPr>
          <a:xfrm>
            <a:off x="5055960" y="1137124"/>
            <a:ext cx="3368040" cy="523220"/>
          </a:xfrm>
          <a:prstGeom prst="rect">
            <a:avLst/>
          </a:prstGeom>
          <a:noFill/>
        </p:spPr>
        <p:txBody>
          <a:bodyPr wrap="square">
            <a:spAutoFit/>
          </a:bodyPr>
          <a:lstStyle/>
          <a:p>
            <a:pPr algn="ctr"/>
            <a:r>
              <a:rPr lang="en-GB" b="1">
                <a:solidFill>
                  <a:srgbClr val="162020"/>
                </a:solidFill>
                <a:latin typeface="Tahoma" panose="020B0604030504040204" pitchFamily="34" charset="0"/>
                <a:ea typeface="Tahoma" panose="020B0604030504040204" pitchFamily="34" charset="0"/>
                <a:cs typeface="Tahoma" panose="020B0604030504040204" pitchFamily="34" charset="0"/>
              </a:rPr>
              <a:t>Observed engagement </a:t>
            </a:r>
            <a:r>
              <a:rPr lang="en-GB" b="1" i="0">
                <a:solidFill>
                  <a:srgbClr val="162020"/>
                </a:solidFill>
                <a:effectLst/>
                <a:latin typeface="Tahoma" panose="020B0604030504040204" pitchFamily="34" charset="0"/>
                <a:ea typeface="Tahoma" panose="020B0604030504040204" pitchFamily="34" charset="0"/>
                <a:cs typeface="Tahoma" panose="020B0604030504040204" pitchFamily="34" charset="0"/>
              </a:rPr>
              <a:t>on over 34,000 Instagram accounts’ posts</a:t>
            </a:r>
            <a:r>
              <a:rPr lang="en-GB" b="1" i="0" baseline="30000">
                <a:solidFill>
                  <a:srgbClr val="162020"/>
                </a:solidFill>
                <a:effectLst/>
                <a:latin typeface="Tahoma" panose="020B0604030504040204" pitchFamily="34" charset="0"/>
                <a:ea typeface="Tahoma" panose="020B0604030504040204" pitchFamily="34" charset="0"/>
                <a:cs typeface="Tahoma" panose="020B0604030504040204" pitchFamily="34" charset="0"/>
              </a:rPr>
              <a:t>1</a:t>
            </a:r>
            <a:endParaRPr lang="en-GB" b="1">
              <a:latin typeface="Tahoma" panose="020B0604030504040204" pitchFamily="34" charset="0"/>
              <a:ea typeface="Tahoma" panose="020B0604030504040204" pitchFamily="34" charset="0"/>
              <a:cs typeface="Tahoma" panose="020B0604030504040204" pitchFamily="34" charset="0"/>
            </a:endParaRPr>
          </a:p>
        </p:txBody>
      </p:sp>
      <p:sp>
        <p:nvSpPr>
          <p:cNvPr id="13" name="TextBox 12">
            <a:extLst>
              <a:ext uri="{FF2B5EF4-FFF2-40B4-BE49-F238E27FC236}">
                <a16:creationId xmlns:a16="http://schemas.microsoft.com/office/drawing/2014/main" id="{526D8BD7-D9EE-E202-3A8F-2956D7776017}"/>
              </a:ext>
            </a:extLst>
          </p:cNvPr>
          <p:cNvSpPr txBox="1"/>
          <p:nvPr/>
        </p:nvSpPr>
        <p:spPr>
          <a:xfrm>
            <a:off x="0" y="4928056"/>
            <a:ext cx="6248400" cy="215444"/>
          </a:xfrm>
          <a:prstGeom prst="rect">
            <a:avLst/>
          </a:prstGeom>
          <a:noFill/>
        </p:spPr>
        <p:txBody>
          <a:bodyPr wrap="square" rtlCol="0">
            <a:spAutoFit/>
          </a:bodyPr>
          <a:lstStyle/>
          <a:p>
            <a:r>
              <a:rPr lang="en-GB" sz="800" baseline="30000">
                <a:solidFill>
                  <a:schemeClr val="accent6">
                    <a:lumMod val="65000"/>
                  </a:schemeClr>
                </a:solidFill>
                <a:latin typeface="Tahoma" panose="020B0604030504040204" pitchFamily="34" charset="0"/>
                <a:ea typeface="Tahoma" panose="020B0604030504040204" pitchFamily="34" charset="0"/>
                <a:cs typeface="Tahoma" panose="020B0604030504040204" pitchFamily="34" charset="0"/>
                <a:hlinkClick r:id="rId6">
                  <a:extLst>
                    <a:ext uri="{A12FA001-AC4F-418D-AE19-62706E023703}">
                      <ahyp:hlinkClr xmlns:ahyp="http://schemas.microsoft.com/office/drawing/2018/hyperlinkcolor" val="tx"/>
                    </a:ext>
                  </a:extLst>
                </a:hlinkClick>
              </a:rPr>
              <a:t>1 </a:t>
            </a:r>
            <a:r>
              <a:rPr lang="en-GB" sz="800">
                <a:solidFill>
                  <a:schemeClr val="accent6">
                    <a:lumMod val="65000"/>
                  </a:schemeClr>
                </a:solidFill>
                <a:latin typeface="Tahoma" panose="020B0604030504040204" pitchFamily="34" charset="0"/>
                <a:ea typeface="Tahoma" panose="020B0604030504040204" pitchFamily="34" charset="0"/>
                <a:cs typeface="Tahoma" panose="020B0604030504040204" pitchFamily="34" charset="0"/>
                <a:hlinkClick r:id="rId6">
                  <a:extLst>
                    <a:ext uri="{A12FA001-AC4F-418D-AE19-62706E023703}">
                      <ahyp:hlinkClr xmlns:ahyp="http://schemas.microsoft.com/office/drawing/2018/hyperlinkcolor" val="tx"/>
                    </a:ext>
                  </a:extLst>
                </a:hlinkClick>
              </a:rPr>
              <a:t>https://sproutsocial.com/insights/best-times-to-post-on-social-media/</a:t>
            </a:r>
            <a:endParaRPr lang="en-GB" sz="800">
              <a:solidFill>
                <a:schemeClr val="accent6">
                  <a:lumMod val="65000"/>
                </a:schemeClr>
              </a:solidFill>
              <a:latin typeface="Tahoma" panose="020B0604030504040204" pitchFamily="34" charset="0"/>
              <a:ea typeface="Tahoma" panose="020B0604030504040204" pitchFamily="34" charset="0"/>
              <a:cs typeface="Tahoma" panose="020B0604030504040204" pitchFamily="34" charset="0"/>
            </a:endParaRPr>
          </a:p>
        </p:txBody>
      </p:sp>
      <p:grpSp>
        <p:nvGrpSpPr>
          <p:cNvPr id="17" name="Group 16">
            <a:extLst>
              <a:ext uri="{FF2B5EF4-FFF2-40B4-BE49-F238E27FC236}">
                <a16:creationId xmlns:a16="http://schemas.microsoft.com/office/drawing/2014/main" id="{4DE52AD5-28B7-D198-1A3C-226D303547AF}"/>
              </a:ext>
            </a:extLst>
          </p:cNvPr>
          <p:cNvGrpSpPr/>
          <p:nvPr/>
        </p:nvGrpSpPr>
        <p:grpSpPr>
          <a:xfrm>
            <a:off x="4882972" y="4266456"/>
            <a:ext cx="3419198" cy="575328"/>
            <a:chOff x="4882972" y="4266456"/>
            <a:chExt cx="3419198" cy="575328"/>
          </a:xfrm>
        </p:grpSpPr>
        <p:pic>
          <p:nvPicPr>
            <p:cNvPr id="15" name="Graphic 14" descr="Lightbulb with solid fill">
              <a:extLst>
                <a:ext uri="{FF2B5EF4-FFF2-40B4-BE49-F238E27FC236}">
                  <a16:creationId xmlns:a16="http://schemas.microsoft.com/office/drawing/2014/main" id="{E14D4941-1836-427D-970E-40E13D4DA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82972" y="4266456"/>
              <a:ext cx="571500" cy="571500"/>
            </a:xfrm>
            <a:prstGeom prst="rect">
              <a:avLst/>
            </a:prstGeom>
          </p:spPr>
        </p:pic>
        <p:sp>
          <p:nvSpPr>
            <p:cNvPr id="16" name="TextBox 15">
              <a:extLst>
                <a:ext uri="{FF2B5EF4-FFF2-40B4-BE49-F238E27FC236}">
                  <a16:creationId xmlns:a16="http://schemas.microsoft.com/office/drawing/2014/main" id="{12898304-217C-95C9-9D3E-B78318C27EB5}"/>
                </a:ext>
              </a:extLst>
            </p:cNvPr>
            <p:cNvSpPr txBox="1"/>
            <p:nvPr/>
          </p:nvSpPr>
          <p:spPr>
            <a:xfrm>
              <a:off x="5341710" y="4318564"/>
              <a:ext cx="2960460" cy="523220"/>
            </a:xfrm>
            <a:prstGeom prst="rect">
              <a:avLst/>
            </a:prstGeom>
            <a:noFill/>
          </p:spPr>
          <p:txBody>
            <a:bodyPr wrap="square" rtlCol="0">
              <a:spAutoFit/>
            </a:bodyPr>
            <a:lstStyle/>
            <a:p>
              <a:r>
                <a:rPr lang="en-GB" b="1">
                  <a:solidFill>
                    <a:srgbClr val="E2415E"/>
                  </a:solidFill>
                  <a:latin typeface="Tahoma" panose="020B0604030504040204" pitchFamily="34" charset="0"/>
                  <a:ea typeface="Tahoma" panose="020B0604030504040204" pitchFamily="34" charset="0"/>
                  <a:cs typeface="Tahoma" panose="020B0604030504040204" pitchFamily="34" charset="0"/>
                </a:rPr>
                <a:t>Focus on m</a:t>
              </a:r>
              <a:r>
                <a:rPr lang="en-GB" b="1" i="0">
                  <a:solidFill>
                    <a:srgbClr val="E2415E"/>
                  </a:solidFill>
                  <a:effectLst/>
                  <a:latin typeface="Tahoma" panose="020B0604030504040204" pitchFamily="34" charset="0"/>
                  <a:ea typeface="Tahoma" panose="020B0604030504040204" pitchFamily="34" charset="0"/>
                  <a:cs typeface="Tahoma" panose="020B0604030504040204" pitchFamily="34" charset="0"/>
                </a:rPr>
                <a:t>idweek mornings</a:t>
              </a:r>
            </a:p>
            <a:p>
              <a:r>
                <a:rPr lang="en-GB" b="1">
                  <a:solidFill>
                    <a:srgbClr val="E2415E"/>
                  </a:solidFill>
                  <a:latin typeface="Tahoma" panose="020B0604030504040204" pitchFamily="34" charset="0"/>
                  <a:ea typeface="Tahoma" panose="020B0604030504040204" pitchFamily="34" charset="0"/>
                  <a:cs typeface="Tahoma" panose="020B0604030504040204" pitchFamily="34" charset="0"/>
                </a:rPr>
                <a:t>Avoid posting in weekends</a:t>
              </a:r>
            </a:p>
          </p:txBody>
        </p:sp>
      </p:grpSp>
      <p:sp>
        <p:nvSpPr>
          <p:cNvPr id="27" name="TextBox 26">
            <a:extLst>
              <a:ext uri="{FF2B5EF4-FFF2-40B4-BE49-F238E27FC236}">
                <a16:creationId xmlns:a16="http://schemas.microsoft.com/office/drawing/2014/main" id="{26BFCFC9-76C6-D8B4-CD13-0E0D924A643B}"/>
              </a:ext>
            </a:extLst>
          </p:cNvPr>
          <p:cNvSpPr txBox="1"/>
          <p:nvPr/>
        </p:nvSpPr>
        <p:spPr>
          <a:xfrm>
            <a:off x="2046200" y="4684119"/>
            <a:ext cx="911524" cy="230832"/>
          </a:xfrm>
          <a:prstGeom prst="rect">
            <a:avLst/>
          </a:prstGeom>
          <a:solidFill>
            <a:schemeClr val="accent5"/>
          </a:solidFill>
        </p:spPr>
        <p:txBody>
          <a:bodyPr wrap="square" rtlCol="0">
            <a:spAutoFit/>
          </a:bodyPr>
          <a:lstStyle/>
          <a:p>
            <a:pPr algn="ctr"/>
            <a:r>
              <a:rPr lang="en-GB" sz="900" b="1">
                <a:solidFill>
                  <a:srgbClr val="9C3203"/>
                </a:solidFill>
                <a:latin typeface="Tahoma" panose="020B0604030504040204" pitchFamily="34" charset="0"/>
                <a:ea typeface="Tahoma" panose="020B0604030504040204" pitchFamily="34" charset="0"/>
                <a:cs typeface="Tahoma" panose="020B0604030504040204" pitchFamily="34" charset="0"/>
              </a:rPr>
              <a:t>(UTC + 8)</a:t>
            </a:r>
          </a:p>
        </p:txBody>
      </p:sp>
      <p:pic>
        <p:nvPicPr>
          <p:cNvPr id="4" name="Picture 3">
            <a:extLst>
              <a:ext uri="{FF2B5EF4-FFF2-40B4-BE49-F238E27FC236}">
                <a16:creationId xmlns:a16="http://schemas.microsoft.com/office/drawing/2014/main" id="{E89096B4-76AA-2361-AAC0-40F3D9780874}"/>
              </a:ext>
            </a:extLst>
          </p:cNvPr>
          <p:cNvPicPr>
            <a:picLocks noChangeAspect="1"/>
          </p:cNvPicPr>
          <p:nvPr/>
        </p:nvPicPr>
        <p:blipFill>
          <a:blip r:embed="rId9"/>
          <a:srcRect/>
          <a:stretch/>
        </p:blipFill>
        <p:spPr>
          <a:xfrm>
            <a:off x="719999" y="786502"/>
            <a:ext cx="3563922" cy="1855983"/>
          </a:xfrm>
          <a:prstGeom prst="rect">
            <a:avLst/>
          </a:prstGeom>
        </p:spPr>
      </p:pic>
      <p:pic>
        <p:nvPicPr>
          <p:cNvPr id="6" name="Picture 5">
            <a:extLst>
              <a:ext uri="{FF2B5EF4-FFF2-40B4-BE49-F238E27FC236}">
                <a16:creationId xmlns:a16="http://schemas.microsoft.com/office/drawing/2014/main" id="{B27E5E40-98E9-4C54-DCEB-FA763A15849D}"/>
              </a:ext>
            </a:extLst>
          </p:cNvPr>
          <p:cNvPicPr>
            <a:picLocks noChangeAspect="1"/>
          </p:cNvPicPr>
          <p:nvPr/>
        </p:nvPicPr>
        <p:blipFill>
          <a:blip r:embed="rId10"/>
          <a:srcRect/>
          <a:stretch/>
        </p:blipFill>
        <p:spPr>
          <a:xfrm>
            <a:off x="720000" y="2859831"/>
            <a:ext cx="3563920" cy="1855983"/>
          </a:xfrm>
          <a:prstGeom prst="rect">
            <a:avLst/>
          </a:prstGeom>
        </p:spPr>
      </p:pic>
      <p:grpSp>
        <p:nvGrpSpPr>
          <p:cNvPr id="9" name="Group 8">
            <a:extLst>
              <a:ext uri="{FF2B5EF4-FFF2-40B4-BE49-F238E27FC236}">
                <a16:creationId xmlns:a16="http://schemas.microsoft.com/office/drawing/2014/main" id="{B55C71B7-0D66-ACED-7389-8337827554E6}"/>
              </a:ext>
            </a:extLst>
          </p:cNvPr>
          <p:cNvGrpSpPr/>
          <p:nvPr/>
        </p:nvGrpSpPr>
        <p:grpSpPr>
          <a:xfrm>
            <a:off x="8407295" y="-28044"/>
            <a:ext cx="871964" cy="553028"/>
            <a:chOff x="8285465" y="79946"/>
            <a:chExt cx="871964" cy="553028"/>
          </a:xfrm>
        </p:grpSpPr>
        <p:sp>
          <p:nvSpPr>
            <p:cNvPr id="10" name="Google Shape;3967;p40">
              <a:extLst>
                <a:ext uri="{FF2B5EF4-FFF2-40B4-BE49-F238E27FC236}">
                  <a16:creationId xmlns:a16="http://schemas.microsoft.com/office/drawing/2014/main" id="{0CDC7154-8F9D-6F64-4036-8CCF9AE4F988}"/>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1" name="Graphic 10">
              <a:extLst>
                <a:ext uri="{FF2B5EF4-FFF2-40B4-BE49-F238E27FC236}">
                  <a16:creationId xmlns:a16="http://schemas.microsoft.com/office/drawing/2014/main" id="{21E00ED8-CDDD-6670-0757-F276A266791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561402" y="79946"/>
              <a:ext cx="348226" cy="348226"/>
            </a:xfrm>
            <a:prstGeom prst="rect">
              <a:avLst/>
            </a:prstGeom>
          </p:spPr>
        </p:pic>
      </p:grpSp>
      <p:sp>
        <p:nvSpPr>
          <p:cNvPr id="18" name="Google Shape;3967;p40">
            <a:extLst>
              <a:ext uri="{FF2B5EF4-FFF2-40B4-BE49-F238E27FC236}">
                <a16:creationId xmlns:a16="http://schemas.microsoft.com/office/drawing/2014/main" id="{C6E33227-AA74-600B-F893-7F25B8ED2391}"/>
              </a:ext>
            </a:extLst>
          </p:cNvPr>
          <p:cNvSpPr txBox="1">
            <a:spLocks/>
          </p:cNvSpPr>
          <p:nvPr/>
        </p:nvSpPr>
        <p:spPr>
          <a:xfrm>
            <a:off x="8272036" y="1767569"/>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endParaRPr lang="nl-BE" sz="9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30" name="Picture 29">
            <a:extLst>
              <a:ext uri="{FF2B5EF4-FFF2-40B4-BE49-F238E27FC236}">
                <a16:creationId xmlns:a16="http://schemas.microsoft.com/office/drawing/2014/main" id="{975218E8-BEB6-7441-4A23-3CE6D152480F}"/>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50000"/>
                    </a14:imgEffect>
                  </a14:imgLayer>
                </a14:imgProps>
              </a:ext>
            </a:extLst>
          </a:blip>
          <a:stretch>
            <a:fillRect/>
          </a:stretch>
        </p:blipFill>
        <p:spPr>
          <a:xfrm>
            <a:off x="231365" y="1096460"/>
            <a:ext cx="341214" cy="1225014"/>
          </a:xfrm>
          <a:prstGeom prst="rect">
            <a:avLst/>
          </a:prstGeom>
        </p:spPr>
      </p:pic>
      <p:pic>
        <p:nvPicPr>
          <p:cNvPr id="31" name="Picture 30">
            <a:extLst>
              <a:ext uri="{FF2B5EF4-FFF2-40B4-BE49-F238E27FC236}">
                <a16:creationId xmlns:a16="http://schemas.microsoft.com/office/drawing/2014/main" id="{1471A16C-ED3B-FC9B-7770-2BEBDDEF59EC}"/>
              </a:ext>
            </a:extLst>
          </p:cNvPr>
          <p:cNvPicPr>
            <a:picLocks noChangeAspect="1"/>
          </p:cNvPicPr>
          <p:nvPr/>
        </p:nvPicPr>
        <p:blipFill>
          <a:blip r:embed="rId15">
            <a:extLst>
              <a:ext uri="{BEBA8EAE-BF5A-486C-A8C5-ECC9F3942E4B}">
                <a14:imgProps xmlns:a14="http://schemas.microsoft.com/office/drawing/2010/main">
                  <a14:imgLayer r:embed="rId16">
                    <a14:imgEffect>
                      <a14:sharpenSoften amount="50000"/>
                    </a14:imgEffect>
                  </a14:imgLayer>
                </a14:imgProps>
              </a:ext>
            </a:extLst>
          </a:blip>
          <a:stretch>
            <a:fillRect/>
          </a:stretch>
        </p:blipFill>
        <p:spPr>
          <a:xfrm>
            <a:off x="120948" y="3019689"/>
            <a:ext cx="562048" cy="1246842"/>
          </a:xfrm>
          <a:prstGeom prst="rect">
            <a:avLst/>
          </a:prstGeom>
        </p:spPr>
      </p:pic>
    </p:spTree>
    <p:extLst>
      <p:ext uri="{BB962C8B-B14F-4D97-AF65-F5344CB8AC3E}">
        <p14:creationId xmlns:p14="http://schemas.microsoft.com/office/powerpoint/2010/main" val="2767481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2" grpId="0"/>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41345D0-BDB3-3813-DF11-DAAB4C3AB73A}"/>
              </a:ext>
            </a:extLst>
          </p:cNvPr>
          <p:cNvSpPr/>
          <p:nvPr/>
        </p:nvSpPr>
        <p:spPr>
          <a:xfrm>
            <a:off x="7477126" y="4356998"/>
            <a:ext cx="1656968" cy="79522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30DE13F-AF43-E787-784C-1040D6E2ED8B}"/>
              </a:ext>
            </a:extLst>
          </p:cNvPr>
          <p:cNvSpPr>
            <a:spLocks noGrp="1"/>
          </p:cNvSpPr>
          <p:nvPr>
            <p:ph type="title"/>
          </p:nvPr>
        </p:nvSpPr>
        <p:spPr>
          <a:xfrm>
            <a:off x="720000" y="213802"/>
            <a:ext cx="7704000" cy="572700"/>
          </a:xfrm>
        </p:spPr>
        <p:txBody>
          <a:bodyPr/>
          <a:lstStyle/>
          <a:p>
            <a:r>
              <a:rPr lang="en-GB"/>
              <a:t>Lufthansa is more experimental in its </a:t>
            </a:r>
            <a:r>
              <a:rPr lang="en-GB">
                <a:solidFill>
                  <a:schemeClr val="bg1">
                    <a:lumMod val="50000"/>
                  </a:schemeClr>
                </a:solidFill>
              </a:rPr>
              <a:t>post types</a:t>
            </a:r>
          </a:p>
        </p:txBody>
      </p:sp>
      <p:pic>
        <p:nvPicPr>
          <p:cNvPr id="12" name="Picture 11">
            <a:extLst>
              <a:ext uri="{FF2B5EF4-FFF2-40B4-BE49-F238E27FC236}">
                <a16:creationId xmlns:a16="http://schemas.microsoft.com/office/drawing/2014/main" id="{6E692516-4C55-2E7E-FB61-7E963E2A32C5}"/>
              </a:ext>
            </a:extLst>
          </p:cNvPr>
          <p:cNvPicPr>
            <a:picLocks noChangeAspect="1"/>
          </p:cNvPicPr>
          <p:nvPr/>
        </p:nvPicPr>
        <p:blipFill>
          <a:blip r:embed="rId3"/>
          <a:srcRect/>
          <a:stretch/>
        </p:blipFill>
        <p:spPr>
          <a:xfrm>
            <a:off x="692607" y="2735613"/>
            <a:ext cx="3879394" cy="1784193"/>
          </a:xfrm>
          <a:prstGeom prst="rect">
            <a:avLst/>
          </a:prstGeom>
        </p:spPr>
      </p:pic>
      <p:sp>
        <p:nvSpPr>
          <p:cNvPr id="7" name="TextBox 6">
            <a:extLst>
              <a:ext uri="{FF2B5EF4-FFF2-40B4-BE49-F238E27FC236}">
                <a16:creationId xmlns:a16="http://schemas.microsoft.com/office/drawing/2014/main" id="{4CF7B115-6D7C-B039-524E-9A973CC50991}"/>
              </a:ext>
            </a:extLst>
          </p:cNvPr>
          <p:cNvSpPr txBox="1"/>
          <p:nvPr/>
        </p:nvSpPr>
        <p:spPr>
          <a:xfrm>
            <a:off x="4901160" y="923714"/>
            <a:ext cx="3444036" cy="307777"/>
          </a:xfrm>
          <a:prstGeom prst="rect">
            <a:avLst/>
          </a:prstGeom>
          <a:noFill/>
        </p:spPr>
        <p:txBody>
          <a:bodyPr wrap="square" rtlCol="0">
            <a:spAutoFit/>
          </a:bodyPr>
          <a:lstStyle/>
          <a:p>
            <a:pPr algn="ctr"/>
            <a:r>
              <a:rPr lang="en-GB" b="1">
                <a:solidFill>
                  <a:srgbClr val="0A1D3D"/>
                </a:solidFill>
                <a:latin typeface="Tahoma" panose="020B0604030504040204" pitchFamily="34" charset="0"/>
                <a:ea typeface="Tahoma" panose="020B0604030504040204" pitchFamily="34" charset="0"/>
                <a:cs typeface="Tahoma" panose="020B0604030504040204" pitchFamily="34" charset="0"/>
              </a:rPr>
              <a:t>Other research on the topic</a:t>
            </a:r>
            <a:r>
              <a:rPr lang="en-GB" b="1" baseline="30000">
                <a:solidFill>
                  <a:srgbClr val="0A1D3D"/>
                </a:solidFill>
                <a:latin typeface="Tahoma" panose="020B0604030504040204" pitchFamily="34" charset="0"/>
                <a:ea typeface="Tahoma" panose="020B0604030504040204" pitchFamily="34" charset="0"/>
                <a:cs typeface="Tahoma" panose="020B0604030504040204" pitchFamily="34" charset="0"/>
              </a:rPr>
              <a:t>1</a:t>
            </a:r>
            <a:endParaRPr lang="en-GB" b="1">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oup 2">
            <a:extLst>
              <a:ext uri="{FF2B5EF4-FFF2-40B4-BE49-F238E27FC236}">
                <a16:creationId xmlns:a16="http://schemas.microsoft.com/office/drawing/2014/main" id="{CA35BC32-41E8-FD85-479A-54ABDE586BC7}"/>
              </a:ext>
            </a:extLst>
          </p:cNvPr>
          <p:cNvGrpSpPr/>
          <p:nvPr/>
        </p:nvGrpSpPr>
        <p:grpSpPr>
          <a:xfrm>
            <a:off x="4684788" y="1174102"/>
            <a:ext cx="3876780" cy="1083185"/>
            <a:chOff x="4684788" y="1174102"/>
            <a:chExt cx="3876780" cy="1083185"/>
          </a:xfrm>
        </p:grpSpPr>
        <p:pic>
          <p:nvPicPr>
            <p:cNvPr id="6" name="Picture 5">
              <a:extLst>
                <a:ext uri="{FF2B5EF4-FFF2-40B4-BE49-F238E27FC236}">
                  <a16:creationId xmlns:a16="http://schemas.microsoft.com/office/drawing/2014/main" id="{F597EEC0-4C0A-E510-5EBA-569EC4FB4088}"/>
                </a:ext>
              </a:extLst>
            </p:cNvPr>
            <p:cNvPicPr>
              <a:picLocks noChangeAspect="1"/>
            </p:cNvPicPr>
            <p:nvPr/>
          </p:nvPicPr>
          <p:blipFill rotWithShape="1">
            <a:blip r:embed="rId4"/>
            <a:srcRect r="35724" b="72589"/>
            <a:stretch/>
          </p:blipFill>
          <p:spPr>
            <a:xfrm>
              <a:off x="4684788" y="1174102"/>
              <a:ext cx="3876780" cy="1083185"/>
            </a:xfrm>
            <a:prstGeom prst="rect">
              <a:avLst/>
            </a:prstGeom>
          </p:spPr>
        </p:pic>
        <p:sp>
          <p:nvSpPr>
            <p:cNvPr id="8" name="Rectangle 7">
              <a:extLst>
                <a:ext uri="{FF2B5EF4-FFF2-40B4-BE49-F238E27FC236}">
                  <a16:creationId xmlns:a16="http://schemas.microsoft.com/office/drawing/2014/main" id="{5B134B6D-4685-3174-11AC-EBB16BD444B0}"/>
                </a:ext>
              </a:extLst>
            </p:cNvPr>
            <p:cNvSpPr/>
            <p:nvPr/>
          </p:nvSpPr>
          <p:spPr>
            <a:xfrm>
              <a:off x="6918960" y="2110740"/>
              <a:ext cx="541020" cy="146547"/>
            </a:xfrm>
            <a:prstGeom prst="rect">
              <a:avLst/>
            </a:prstGeom>
            <a:solidFill>
              <a:srgbClr val="FFC000">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TextBox 10">
            <a:extLst>
              <a:ext uri="{FF2B5EF4-FFF2-40B4-BE49-F238E27FC236}">
                <a16:creationId xmlns:a16="http://schemas.microsoft.com/office/drawing/2014/main" id="{75963863-EA01-F8C3-A248-741989FC897B}"/>
              </a:ext>
            </a:extLst>
          </p:cNvPr>
          <p:cNvSpPr txBox="1"/>
          <p:nvPr/>
        </p:nvSpPr>
        <p:spPr>
          <a:xfrm>
            <a:off x="0" y="4832672"/>
            <a:ext cx="7703999" cy="461665"/>
          </a:xfrm>
          <a:prstGeom prst="rect">
            <a:avLst/>
          </a:prstGeom>
          <a:noFill/>
        </p:spPr>
        <p:txBody>
          <a:bodyPr wrap="square" rtlCol="0">
            <a:spAutoFit/>
          </a:bodyPr>
          <a:lstStyle/>
          <a:p>
            <a:r>
              <a:rPr lang="en-GB" sz="800" baseline="30000">
                <a:solidFill>
                  <a:srgbClr val="0A1D3D"/>
                </a:solidFill>
                <a:latin typeface="Tahoma" panose="020B0604030504040204" pitchFamily="34" charset="0"/>
                <a:ea typeface="Tahoma" panose="020B0604030504040204" pitchFamily="34" charset="0"/>
                <a:cs typeface="Tahoma" panose="020B0604030504040204" pitchFamily="34" charset="0"/>
              </a:rPr>
              <a:t>1</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Risqo , W. M. (n.d.). Factors driving social media engagement on Instagram Https://</a:t>
            </a:r>
            <a:r>
              <a:rPr lang="en-GB" sz="800" err="1">
                <a:solidFill>
                  <a:srgbClr val="0A1D3D"/>
                </a:solidFill>
                <a:latin typeface="Tahoma" panose="020B0604030504040204" pitchFamily="34" charset="0"/>
                <a:ea typeface="Tahoma" panose="020B0604030504040204" pitchFamily="34" charset="0"/>
                <a:cs typeface="Tahoma" panose="020B0604030504040204" pitchFamily="34" charset="0"/>
              </a:rPr>
              <a:t>www.tandfonline.com</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a:t>
            </a:r>
            <a:r>
              <a:rPr lang="en-GB" sz="800" err="1">
                <a:solidFill>
                  <a:srgbClr val="0A1D3D"/>
                </a:solidFill>
                <a:latin typeface="Tahoma" panose="020B0604030504040204" pitchFamily="34" charset="0"/>
                <a:ea typeface="Tahoma" panose="020B0604030504040204" pitchFamily="34" charset="0"/>
                <a:cs typeface="Tahoma" panose="020B0604030504040204" pitchFamily="34" charset="0"/>
              </a:rPr>
              <a:t>doi</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full/10.1080/08911762.2021.1956665</a:t>
            </a:r>
          </a:p>
          <a:p>
            <a:r>
              <a:rPr lang="en-GB" sz="800" baseline="30000">
                <a:solidFill>
                  <a:srgbClr val="0A1D3D"/>
                </a:solidFill>
                <a:latin typeface="Tahoma" panose="020B0604030504040204" pitchFamily="34" charset="0"/>
                <a:ea typeface="Tahoma" panose="020B0604030504040204" pitchFamily="34" charset="0"/>
                <a:cs typeface="Tahoma" panose="020B0604030504040204" pitchFamily="34" charset="0"/>
              </a:rPr>
              <a:t>2</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Socialinsider. (n.d.). Instagram Carousel Study - </a:t>
            </a:r>
            <a:r>
              <a:rPr lang="en-GB" sz="800" err="1">
                <a:solidFill>
                  <a:srgbClr val="0A1D3D"/>
                </a:solidFill>
                <a:latin typeface="Tahoma" panose="020B0604030504040204" pitchFamily="34" charset="0"/>
                <a:ea typeface="Tahoma" panose="020B0604030504040204" pitchFamily="34" charset="0"/>
                <a:cs typeface="Tahoma" panose="020B0604030504040204" pitchFamily="34" charset="0"/>
              </a:rPr>
              <a:t>Socialinsider</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 https://</a:t>
            </a:r>
            <a:r>
              <a:rPr lang="en-GB" sz="800" err="1">
                <a:solidFill>
                  <a:srgbClr val="0A1D3D"/>
                </a:solidFill>
                <a:latin typeface="Tahoma" panose="020B0604030504040204" pitchFamily="34" charset="0"/>
                <a:ea typeface="Tahoma" panose="020B0604030504040204" pitchFamily="34" charset="0"/>
                <a:cs typeface="Tahoma" panose="020B0604030504040204" pitchFamily="34" charset="0"/>
              </a:rPr>
              <a:t>www.socialinsider.io</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data-geeks/Instagram-Carousel-</a:t>
            </a:r>
            <a:r>
              <a:rPr lang="en-GB" sz="800" err="1">
                <a:solidFill>
                  <a:srgbClr val="0A1D3D"/>
                </a:solidFill>
                <a:latin typeface="Tahoma" panose="020B0604030504040204" pitchFamily="34" charset="0"/>
                <a:ea typeface="Tahoma" panose="020B0604030504040204" pitchFamily="34" charset="0"/>
                <a:cs typeface="Tahoma" panose="020B0604030504040204" pitchFamily="34" charset="0"/>
              </a:rPr>
              <a:t>Study.pdf</a:t>
            </a:r>
            <a:r>
              <a:rPr lang="en-GB" sz="800">
                <a:solidFill>
                  <a:srgbClr val="0A1D3D"/>
                </a:solidFill>
                <a:latin typeface="Tahoma" panose="020B0604030504040204" pitchFamily="34" charset="0"/>
                <a:ea typeface="Tahoma" panose="020B0604030504040204" pitchFamily="34" charset="0"/>
                <a:cs typeface="Tahoma" panose="020B0604030504040204" pitchFamily="34" charset="0"/>
              </a:rPr>
              <a:t> </a:t>
            </a:r>
          </a:p>
          <a:p>
            <a:endParaRPr lang="en-GB" sz="800">
              <a:solidFill>
                <a:srgbClr val="0A1D3D"/>
              </a:solidFill>
              <a:latin typeface="Tahoma" panose="020B0604030504040204" pitchFamily="34" charset="0"/>
              <a:ea typeface="Tahoma" panose="020B0604030504040204" pitchFamily="34" charset="0"/>
              <a:cs typeface="Tahoma" panose="020B0604030504040204" pitchFamily="34" charset="0"/>
            </a:endParaRPr>
          </a:p>
        </p:txBody>
      </p:sp>
      <p:pic>
        <p:nvPicPr>
          <p:cNvPr id="16" name="Picture 15">
            <a:extLst>
              <a:ext uri="{FF2B5EF4-FFF2-40B4-BE49-F238E27FC236}">
                <a16:creationId xmlns:a16="http://schemas.microsoft.com/office/drawing/2014/main" id="{EEF5798C-208B-C4DA-A7A1-1E0553B135CB}"/>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a:stretch/>
        </p:blipFill>
        <p:spPr>
          <a:xfrm>
            <a:off x="4884956" y="2548226"/>
            <a:ext cx="3799984" cy="2046498"/>
          </a:xfrm>
          <a:prstGeom prst="rect">
            <a:avLst/>
          </a:prstGeom>
        </p:spPr>
      </p:pic>
      <p:grpSp>
        <p:nvGrpSpPr>
          <p:cNvPr id="5" name="Group 4">
            <a:extLst>
              <a:ext uri="{FF2B5EF4-FFF2-40B4-BE49-F238E27FC236}">
                <a16:creationId xmlns:a16="http://schemas.microsoft.com/office/drawing/2014/main" id="{9C1B6110-0EF7-CAA4-F386-8FF70FC3B0DE}"/>
              </a:ext>
            </a:extLst>
          </p:cNvPr>
          <p:cNvGrpSpPr/>
          <p:nvPr/>
        </p:nvGrpSpPr>
        <p:grpSpPr>
          <a:xfrm>
            <a:off x="8407295" y="-28044"/>
            <a:ext cx="871964" cy="553028"/>
            <a:chOff x="8285465" y="79946"/>
            <a:chExt cx="871964" cy="553028"/>
          </a:xfrm>
        </p:grpSpPr>
        <p:sp>
          <p:nvSpPr>
            <p:cNvPr id="18" name="Google Shape;3967;p40">
              <a:extLst>
                <a:ext uri="{FF2B5EF4-FFF2-40B4-BE49-F238E27FC236}">
                  <a16:creationId xmlns:a16="http://schemas.microsoft.com/office/drawing/2014/main" id="{6F86AD20-A412-2650-C670-6B3A1D98FFDC}"/>
                </a:ext>
              </a:extLst>
            </p:cNvPr>
            <p:cNvSpPr txBox="1">
              <a:spLocks/>
            </p:cNvSpPr>
            <p:nvPr/>
          </p:nvSpPr>
          <p:spPr>
            <a:xfrm>
              <a:off x="8285465" y="321792"/>
              <a:ext cx="871964" cy="31118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500"/>
                <a:buFont typeface="Bebas Neue"/>
                <a:buNone/>
                <a:defRPr sz="3500" b="0" i="0" u="none" strike="noStrike" cap="none">
                  <a:solidFill>
                    <a:srgbClr val="242F58"/>
                  </a:solidFill>
                  <a:latin typeface="Bebas Neue"/>
                  <a:ea typeface="Bebas Neue"/>
                  <a:cs typeface="Bebas Neue"/>
                  <a:sym typeface="Bebas Neue"/>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Strategy</a:t>
              </a:r>
              <a:r>
                <a:rPr lang="nl-BE" sz="700" b="1">
                  <a:solidFill>
                    <a:srgbClr val="0F1A42"/>
                  </a:solidFill>
                  <a:latin typeface="Tahoma" panose="020B0604030504040204" pitchFamily="34" charset="0"/>
                  <a:ea typeface="Tahoma" panose="020B0604030504040204" pitchFamily="34" charset="0"/>
                  <a:cs typeface="Tahoma" panose="020B0604030504040204" pitchFamily="34" charset="0"/>
                </a:rPr>
                <a:t> </a:t>
              </a:r>
            </a:p>
            <a:p>
              <a:pPr algn="ctr"/>
              <a:r>
                <a:rPr lang="nl-BE" sz="700" b="1" err="1">
                  <a:solidFill>
                    <a:srgbClr val="0F1A42"/>
                  </a:solidFill>
                  <a:latin typeface="Tahoma" panose="020B0604030504040204" pitchFamily="34" charset="0"/>
                  <a:ea typeface="Tahoma" panose="020B0604030504040204" pitchFamily="34" charset="0"/>
                  <a:cs typeface="Tahoma" panose="020B0604030504040204" pitchFamily="34" charset="0"/>
                </a:rPr>
                <a:t>Comparison</a:t>
              </a:r>
              <a:endParaRPr lang="nl-BE" sz="700" b="1">
                <a:solidFill>
                  <a:srgbClr val="0F1A42"/>
                </a:solidFill>
                <a:latin typeface="Tahoma" panose="020B0604030504040204" pitchFamily="34" charset="0"/>
                <a:ea typeface="Tahoma" panose="020B0604030504040204" pitchFamily="34" charset="0"/>
                <a:cs typeface="Tahoma" panose="020B0604030504040204" pitchFamily="34" charset="0"/>
              </a:endParaRPr>
            </a:p>
          </p:txBody>
        </p:sp>
        <p:pic>
          <p:nvPicPr>
            <p:cNvPr id="19" name="Graphic 18">
              <a:extLst>
                <a:ext uri="{FF2B5EF4-FFF2-40B4-BE49-F238E27FC236}">
                  <a16:creationId xmlns:a16="http://schemas.microsoft.com/office/drawing/2014/main" id="{6B0EDBDE-83AA-4E6B-6466-F6B0BD19759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561402" y="79946"/>
              <a:ext cx="348226" cy="348226"/>
            </a:xfrm>
            <a:prstGeom prst="rect">
              <a:avLst/>
            </a:prstGeom>
          </p:spPr>
        </p:pic>
      </p:grpSp>
      <p:sp>
        <p:nvSpPr>
          <p:cNvPr id="20" name="TextBox 19">
            <a:extLst>
              <a:ext uri="{FF2B5EF4-FFF2-40B4-BE49-F238E27FC236}">
                <a16:creationId xmlns:a16="http://schemas.microsoft.com/office/drawing/2014/main" id="{CC427AE5-524F-CEC4-B992-8E6B7BF6B1DC}"/>
              </a:ext>
            </a:extLst>
          </p:cNvPr>
          <p:cNvSpPr txBox="1"/>
          <p:nvPr/>
        </p:nvSpPr>
        <p:spPr>
          <a:xfrm>
            <a:off x="8153768" y="2548226"/>
            <a:ext cx="540464" cy="235962"/>
          </a:xfrm>
          <a:prstGeom prst="rect">
            <a:avLst/>
          </a:prstGeom>
          <a:noFill/>
        </p:spPr>
        <p:txBody>
          <a:bodyPr wrap="square" rtlCol="0">
            <a:spAutoFit/>
          </a:bodyPr>
          <a:lstStyle/>
          <a:p>
            <a:pPr algn="ctr"/>
            <a:r>
              <a:rPr lang="en-GB" b="1" baseline="30000">
                <a:solidFill>
                  <a:srgbClr val="0A1D3D"/>
                </a:solidFill>
                <a:latin typeface="Tahoma" panose="020B0604030504040204" pitchFamily="34" charset="0"/>
                <a:ea typeface="Tahoma" panose="020B0604030504040204" pitchFamily="34" charset="0"/>
                <a:cs typeface="Tahoma" panose="020B0604030504040204" pitchFamily="34" charset="0"/>
              </a:rPr>
              <a:t>2</a:t>
            </a:r>
          </a:p>
        </p:txBody>
      </p:sp>
      <p:pic>
        <p:nvPicPr>
          <p:cNvPr id="21" name="Picture 20">
            <a:extLst>
              <a:ext uri="{FF2B5EF4-FFF2-40B4-BE49-F238E27FC236}">
                <a16:creationId xmlns:a16="http://schemas.microsoft.com/office/drawing/2014/main" id="{B8657112-AA13-870C-9026-8FCC9CE9546B}"/>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3695738" y="2726378"/>
            <a:ext cx="857370" cy="771633"/>
          </a:xfrm>
          <a:prstGeom prst="rect">
            <a:avLst/>
          </a:prstGeom>
        </p:spPr>
      </p:pic>
      <p:pic>
        <p:nvPicPr>
          <p:cNvPr id="4" name="Picture 3">
            <a:extLst>
              <a:ext uri="{FF2B5EF4-FFF2-40B4-BE49-F238E27FC236}">
                <a16:creationId xmlns:a16="http://schemas.microsoft.com/office/drawing/2014/main" id="{78BEA1B2-9E15-23F1-AA18-CAB69B867C90}"/>
              </a:ext>
            </a:extLst>
          </p:cNvPr>
          <p:cNvPicPr>
            <a:picLocks noChangeAspect="1"/>
          </p:cNvPicPr>
          <p:nvPr/>
        </p:nvPicPr>
        <p:blipFill>
          <a:blip r:embed="rId11">
            <a:extLst>
              <a:ext uri="{BEBA8EAE-BF5A-486C-A8C5-ECC9F3942E4B}">
                <a14:imgProps xmlns:a14="http://schemas.microsoft.com/office/drawing/2010/main">
                  <a14:imgLayer r:embed="rId12">
                    <a14:imgEffect>
                      <a14:sharpenSoften amount="50000"/>
                    </a14:imgEffect>
                  </a14:imgLayer>
                </a14:imgProps>
              </a:ext>
            </a:extLst>
          </a:blip>
          <a:stretch>
            <a:fillRect/>
          </a:stretch>
        </p:blipFill>
        <p:spPr>
          <a:xfrm>
            <a:off x="231365" y="1096460"/>
            <a:ext cx="341214" cy="1225014"/>
          </a:xfrm>
          <a:prstGeom prst="rect">
            <a:avLst/>
          </a:prstGeom>
        </p:spPr>
      </p:pic>
      <p:pic>
        <p:nvPicPr>
          <p:cNvPr id="9" name="Picture 8">
            <a:extLst>
              <a:ext uri="{FF2B5EF4-FFF2-40B4-BE49-F238E27FC236}">
                <a16:creationId xmlns:a16="http://schemas.microsoft.com/office/drawing/2014/main" id="{3346DFCC-76BD-0C3B-4DE9-F9E7DCB7A2A0}"/>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50000"/>
                    </a14:imgEffect>
                  </a14:imgLayer>
                </a14:imgProps>
              </a:ext>
            </a:extLst>
          </a:blip>
          <a:stretch>
            <a:fillRect/>
          </a:stretch>
        </p:blipFill>
        <p:spPr>
          <a:xfrm>
            <a:off x="120948" y="3019689"/>
            <a:ext cx="562048" cy="1246842"/>
          </a:xfrm>
          <a:prstGeom prst="rect">
            <a:avLst/>
          </a:prstGeom>
        </p:spPr>
      </p:pic>
      <p:grpSp>
        <p:nvGrpSpPr>
          <p:cNvPr id="24" name="Group 23">
            <a:extLst>
              <a:ext uri="{FF2B5EF4-FFF2-40B4-BE49-F238E27FC236}">
                <a16:creationId xmlns:a16="http://schemas.microsoft.com/office/drawing/2014/main" id="{34AFE63B-FA90-5774-697A-F22ACE081CF1}"/>
              </a:ext>
            </a:extLst>
          </p:cNvPr>
          <p:cNvGrpSpPr/>
          <p:nvPr/>
        </p:nvGrpSpPr>
        <p:grpSpPr>
          <a:xfrm>
            <a:off x="692607" y="892716"/>
            <a:ext cx="3879394" cy="1833662"/>
            <a:chOff x="692607" y="892716"/>
            <a:chExt cx="3879394" cy="1833662"/>
          </a:xfrm>
        </p:grpSpPr>
        <p:pic>
          <p:nvPicPr>
            <p:cNvPr id="10" name="Picture 9">
              <a:extLst>
                <a:ext uri="{FF2B5EF4-FFF2-40B4-BE49-F238E27FC236}">
                  <a16:creationId xmlns:a16="http://schemas.microsoft.com/office/drawing/2014/main" id="{04EA7DC3-B724-8498-BBDF-4B3F5A6A6558}"/>
                </a:ext>
              </a:extLst>
            </p:cNvPr>
            <p:cNvPicPr>
              <a:picLocks noChangeAspect="1"/>
            </p:cNvPicPr>
            <p:nvPr/>
          </p:nvPicPr>
          <p:blipFill>
            <a:blip r:embed="rId15"/>
            <a:srcRect/>
            <a:stretch/>
          </p:blipFill>
          <p:spPr>
            <a:xfrm>
              <a:off x="692607" y="923714"/>
              <a:ext cx="3879394" cy="1802664"/>
            </a:xfrm>
            <a:prstGeom prst="rect">
              <a:avLst/>
            </a:prstGeom>
          </p:spPr>
        </p:pic>
        <p:pic>
          <p:nvPicPr>
            <p:cNvPr id="23" name="Picture 22">
              <a:extLst>
                <a:ext uri="{FF2B5EF4-FFF2-40B4-BE49-F238E27FC236}">
                  <a16:creationId xmlns:a16="http://schemas.microsoft.com/office/drawing/2014/main" id="{24E5DCAF-F311-F02B-778D-435E23C1BB11}"/>
                </a:ext>
              </a:extLst>
            </p:cNvPr>
            <p:cNvPicPr>
              <a:picLocks noChangeAspect="1"/>
            </p:cNvPicPr>
            <p:nvPr/>
          </p:nvPicPr>
          <p:blipFill>
            <a:blip r:embed="rId16"/>
            <a:stretch>
              <a:fillRect/>
            </a:stretch>
          </p:blipFill>
          <p:spPr>
            <a:xfrm>
              <a:off x="3772655" y="892716"/>
              <a:ext cx="799345" cy="653582"/>
            </a:xfrm>
            <a:prstGeom prst="rect">
              <a:avLst/>
            </a:prstGeom>
          </p:spPr>
        </p:pic>
      </p:grpSp>
      <p:pic>
        <p:nvPicPr>
          <p:cNvPr id="26" name="Picture 25">
            <a:extLst>
              <a:ext uri="{FF2B5EF4-FFF2-40B4-BE49-F238E27FC236}">
                <a16:creationId xmlns:a16="http://schemas.microsoft.com/office/drawing/2014/main" id="{86AE3838-B331-6B35-935C-7EC4E616B3F3}"/>
              </a:ext>
            </a:extLst>
          </p:cNvPr>
          <p:cNvPicPr>
            <a:picLocks noChangeAspect="1"/>
          </p:cNvPicPr>
          <p:nvPr/>
        </p:nvPicPr>
        <p:blipFill>
          <a:blip r:embed="rId17"/>
          <a:stretch>
            <a:fillRect/>
          </a:stretch>
        </p:blipFill>
        <p:spPr>
          <a:xfrm>
            <a:off x="3790047" y="2726379"/>
            <a:ext cx="739611" cy="622584"/>
          </a:xfrm>
          <a:prstGeom prst="rect">
            <a:avLst/>
          </a:prstGeom>
        </p:spPr>
      </p:pic>
    </p:spTree>
    <p:extLst>
      <p:ext uri="{BB962C8B-B14F-4D97-AF65-F5344CB8AC3E}">
        <p14:creationId xmlns:p14="http://schemas.microsoft.com/office/powerpoint/2010/main" val="2965889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Flying Airplane Theme by Slidesgo">
  <a:themeElements>
    <a:clrScheme name="Custom 13">
      <a:dk1>
        <a:srgbClr val="0A1D3D"/>
      </a:dk1>
      <a:lt1>
        <a:srgbClr val="C8EAFF"/>
      </a:lt1>
      <a:dk2>
        <a:srgbClr val="3992C8"/>
      </a:dk2>
      <a:lt2>
        <a:srgbClr val="326663"/>
      </a:lt2>
      <a:accent1>
        <a:srgbClr val="5C8988"/>
      </a:accent1>
      <a:accent2>
        <a:srgbClr val="A5A284"/>
      </a:accent2>
      <a:accent3>
        <a:srgbClr val="DDE8E8"/>
      </a:accent3>
      <a:accent4>
        <a:srgbClr val="F5E6E4"/>
      </a:accent4>
      <a:accent5>
        <a:srgbClr val="FFFFFF"/>
      </a:accent5>
      <a:accent6>
        <a:srgbClr val="242F58"/>
      </a:accent6>
      <a:hlink>
        <a:srgbClr val="13394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TotalTime>
  <Words>3326</Words>
  <Application>Microsoft Office PowerPoint</Application>
  <PresentationFormat>On-screen Show (16:9)</PresentationFormat>
  <Paragraphs>579</Paragraphs>
  <Slides>47</Slides>
  <Notes>4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7</vt:i4>
      </vt:variant>
    </vt:vector>
  </HeadingPairs>
  <TitlesOfParts>
    <vt:vector size="57" baseType="lpstr">
      <vt:lpstr>Söhne</vt:lpstr>
      <vt:lpstr>Lexend Deca</vt:lpstr>
      <vt:lpstr>Lexend Deca Light</vt:lpstr>
      <vt:lpstr>Arial</vt:lpstr>
      <vt:lpstr>Calibri</vt:lpstr>
      <vt:lpstr>Tahoma</vt:lpstr>
      <vt:lpstr>Bebas Neue</vt:lpstr>
      <vt:lpstr>Cambria Math</vt:lpstr>
      <vt:lpstr>Nunito Light</vt:lpstr>
      <vt:lpstr>Flying Airplane Theme by Slidesgo</vt:lpstr>
      <vt:lpstr>The Sky's the Limit elevating Lufthansa's Instagram Marketing  through data-driven insights</vt:lpstr>
      <vt:lpstr>Lufthansa vs SINGAPOREAIR: A general comparison</vt:lpstr>
      <vt:lpstr>A qualitative comparison</vt:lpstr>
      <vt:lpstr>Both COMPANIES share a Similar growth story</vt:lpstr>
      <vt:lpstr>Instagram post activity: a declining trend</vt:lpstr>
      <vt:lpstr>What about engagement?</vt:lpstr>
      <vt:lpstr>Comparing BOTH AIRLINEs’  INSTAGRAM STRATEGY</vt:lpstr>
      <vt:lpstr>DO WE OBSERVE DIFFERENCES IN post timing?</vt:lpstr>
      <vt:lpstr>Lufthansa is more experimental in its post types</vt:lpstr>
      <vt:lpstr>Caption structure and hashtags</vt:lpstr>
      <vt:lpstr>What are both brands talking about?</vt:lpstr>
      <vt:lpstr>This difference in focus also translates INTO the visuals</vt:lpstr>
      <vt:lpstr>Lufthansa EXPERIMENTS MORE IN ITS ASPECT RATIO’s1</vt:lpstr>
      <vt:lpstr>PowerPoint Presentation</vt:lpstr>
      <vt:lpstr>Identifying The drivers of instagram engagement</vt:lpstr>
      <vt:lpstr>Potential drivers</vt:lpstr>
      <vt:lpstr>Potential drivers</vt:lpstr>
      <vt:lpstr>Potential drivers</vt:lpstr>
      <vt:lpstr>Potential drivers</vt:lpstr>
      <vt:lpstr>Potential drivers</vt:lpstr>
      <vt:lpstr>Potential drivers</vt:lpstr>
      <vt:lpstr>Potential drivers</vt:lpstr>
      <vt:lpstr>drivers</vt:lpstr>
      <vt:lpstr>Our recommendations</vt:lpstr>
      <vt:lpstr>FURTHER STEPS </vt:lpstr>
      <vt:lpstr>03</vt:lpstr>
      <vt:lpstr>NUMBER OF FOLLOWERS</vt:lpstr>
      <vt:lpstr>Feature: Has_Brand_logo</vt:lpstr>
      <vt:lpstr>FEATURES: HAS_AIRPLANE (part1)</vt:lpstr>
      <vt:lpstr>FEATURES: HAS_AIRPLANE (Part 2)</vt:lpstr>
      <vt:lpstr>FEATURES: nr_faces1</vt:lpstr>
      <vt:lpstr>FEATURES: contains_city</vt:lpstr>
      <vt:lpstr>Feature selection</vt:lpstr>
      <vt:lpstr>DATA CUT-OFF</vt:lpstr>
      <vt:lpstr>Pipeline setup</vt:lpstr>
      <vt:lpstr>HYPErparameter tuning</vt:lpstr>
      <vt:lpstr>MODEL COMPARISON</vt:lpstr>
      <vt:lpstr>SHAP — AutoGluon</vt:lpstr>
      <vt:lpstr>FURTHER CONSIDERATIONS / improvements</vt:lpstr>
      <vt:lpstr>THANK you for your attention</vt:lpstr>
      <vt:lpstr>SUPPORTING SLIDES</vt:lpstr>
      <vt:lpstr>Feature importance Lufthansa usa</vt:lpstr>
      <vt:lpstr>Feature importance Lufthansa usa (continued)</vt:lpstr>
      <vt:lpstr>Feature importance Singapore air</vt:lpstr>
      <vt:lpstr>Feature importance Singapore air (continued)</vt:lpstr>
      <vt:lpstr>Shapley Singapore air</vt:lpstr>
      <vt:lpstr>Engagement val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Sky's the Limit elevating Lufthansa's Instagram Marketing  through data-driven insights</dc:title>
  <dc:creator>Matteo Ballegeer</dc:creator>
  <cp:lastModifiedBy>Matteo Ballegeer</cp:lastModifiedBy>
  <cp:revision>2</cp:revision>
  <dcterms:modified xsi:type="dcterms:W3CDTF">2023-12-20T09:58:34Z</dcterms:modified>
</cp:coreProperties>
</file>